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01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96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899A4A-0EB2-FBAB-E839-370F455570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01800C1-BA4F-2D07-9324-A021D54BBE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1800C1-BA4F-2D07-9324-A021D54BBE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21D9DD-B882-54A3-91C6-B1E5FA90A3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9DACB3A-13FD-05CB-E190-29CB2607EC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Icons </a:t>
            </a:r>
          </a:p>
        </p:txBody>
      </p:sp>
      <p:grpSp>
        <p:nvGrpSpPr>
          <p:cNvPr id="30" name="Shape1_20200717_154352">
            <a:extLst>
              <a:ext uri="{FF2B5EF4-FFF2-40B4-BE49-F238E27FC236}">
                <a16:creationId xmlns:a16="http://schemas.microsoft.com/office/drawing/2014/main" id="{C86732AC-0373-2D29-876E-0AB99E786E11}"/>
              </a:ext>
            </a:extLst>
          </p:cNvPr>
          <p:cNvGrpSpPr>
            <a:grpSpLocks noChangeAspect="1"/>
          </p:cNvGrpSpPr>
          <p:nvPr/>
        </p:nvGrpSpPr>
        <p:grpSpPr>
          <a:xfrm>
            <a:off x="9692580" y="2635302"/>
            <a:ext cx="615530" cy="415789"/>
            <a:chOff x="-3501027" y="3942620"/>
            <a:chExt cx="615530" cy="415789"/>
          </a:xfrm>
          <a:solidFill>
            <a:schemeClr val="accent1"/>
          </a:solidFill>
        </p:grpSpPr>
        <p:sp>
          <p:nvSpPr>
            <p:cNvPr id="300" name="Freeform 5">
              <a:extLst>
                <a:ext uri="{FF2B5EF4-FFF2-40B4-BE49-F238E27FC236}">
                  <a16:creationId xmlns:a16="http://schemas.microsoft.com/office/drawing/2014/main" id="{DA13D876-274A-97B8-1449-BB36235809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01027" y="3942620"/>
              <a:ext cx="615530" cy="415787"/>
            </a:xfrm>
            <a:custGeom>
              <a:avLst/>
              <a:gdLst>
                <a:gd name="T0" fmla="*/ 241 w 245"/>
                <a:gd name="T1" fmla="*/ 164 h 164"/>
                <a:gd name="T2" fmla="*/ 4 w 245"/>
                <a:gd name="T3" fmla="*/ 164 h 164"/>
                <a:gd name="T4" fmla="*/ 0 w 245"/>
                <a:gd name="T5" fmla="*/ 160 h 164"/>
                <a:gd name="T6" fmla="*/ 0 w 245"/>
                <a:gd name="T7" fmla="*/ 4 h 164"/>
                <a:gd name="T8" fmla="*/ 4 w 245"/>
                <a:gd name="T9" fmla="*/ 0 h 164"/>
                <a:gd name="T10" fmla="*/ 241 w 245"/>
                <a:gd name="T11" fmla="*/ 0 h 164"/>
                <a:gd name="T12" fmla="*/ 245 w 245"/>
                <a:gd name="T13" fmla="*/ 4 h 164"/>
                <a:gd name="T14" fmla="*/ 245 w 245"/>
                <a:gd name="T15" fmla="*/ 160 h 164"/>
                <a:gd name="T16" fmla="*/ 241 w 245"/>
                <a:gd name="T17" fmla="*/ 164 h 164"/>
                <a:gd name="T18" fmla="*/ 8 w 245"/>
                <a:gd name="T19" fmla="*/ 156 h 164"/>
                <a:gd name="T20" fmla="*/ 237 w 245"/>
                <a:gd name="T21" fmla="*/ 156 h 164"/>
                <a:gd name="T22" fmla="*/ 237 w 245"/>
                <a:gd name="T23" fmla="*/ 8 h 164"/>
                <a:gd name="T24" fmla="*/ 8 w 245"/>
                <a:gd name="T25" fmla="*/ 8 h 164"/>
                <a:gd name="T26" fmla="*/ 8 w 245"/>
                <a:gd name="T27" fmla="*/ 156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5" h="164">
                  <a:moveTo>
                    <a:pt x="241" y="164"/>
                  </a:moveTo>
                  <a:cubicBezTo>
                    <a:pt x="4" y="164"/>
                    <a:pt x="4" y="164"/>
                    <a:pt x="4" y="164"/>
                  </a:cubicBezTo>
                  <a:cubicBezTo>
                    <a:pt x="2" y="164"/>
                    <a:pt x="0" y="162"/>
                    <a:pt x="0" y="1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3" y="0"/>
                    <a:pt x="245" y="2"/>
                    <a:pt x="245" y="4"/>
                  </a:cubicBezTo>
                  <a:cubicBezTo>
                    <a:pt x="245" y="160"/>
                    <a:pt x="245" y="160"/>
                    <a:pt x="245" y="160"/>
                  </a:cubicBezTo>
                  <a:cubicBezTo>
                    <a:pt x="245" y="162"/>
                    <a:pt x="243" y="164"/>
                    <a:pt x="241" y="164"/>
                  </a:cubicBezTo>
                  <a:close/>
                  <a:moveTo>
                    <a:pt x="8" y="156"/>
                  </a:moveTo>
                  <a:cubicBezTo>
                    <a:pt x="237" y="156"/>
                    <a:pt x="237" y="156"/>
                    <a:pt x="237" y="156"/>
                  </a:cubicBezTo>
                  <a:cubicBezTo>
                    <a:pt x="237" y="8"/>
                    <a:pt x="237" y="8"/>
                    <a:pt x="237" y="8"/>
                  </a:cubicBezTo>
                  <a:cubicBezTo>
                    <a:pt x="8" y="8"/>
                    <a:pt x="8" y="8"/>
                    <a:pt x="8" y="8"/>
                  </a:cubicBezTo>
                  <a:lnTo>
                    <a:pt x="8" y="15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1" name="Freeform 6">
              <a:extLst>
                <a:ext uri="{FF2B5EF4-FFF2-40B4-BE49-F238E27FC236}">
                  <a16:creationId xmlns:a16="http://schemas.microsoft.com/office/drawing/2014/main" id="{F36D2927-489B-8D63-B922-275DC35F58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01027" y="3942620"/>
              <a:ext cx="615530" cy="293497"/>
            </a:xfrm>
            <a:custGeom>
              <a:avLst/>
              <a:gdLst>
                <a:gd name="T0" fmla="*/ 122 w 245"/>
                <a:gd name="T1" fmla="*/ 116 h 116"/>
                <a:gd name="T2" fmla="*/ 120 w 245"/>
                <a:gd name="T3" fmla="*/ 115 h 116"/>
                <a:gd name="T4" fmla="*/ 1 w 245"/>
                <a:gd name="T5" fmla="*/ 7 h 116"/>
                <a:gd name="T6" fmla="*/ 0 w 245"/>
                <a:gd name="T7" fmla="*/ 3 h 116"/>
                <a:gd name="T8" fmla="*/ 4 w 245"/>
                <a:gd name="T9" fmla="*/ 0 h 116"/>
                <a:gd name="T10" fmla="*/ 241 w 245"/>
                <a:gd name="T11" fmla="*/ 0 h 116"/>
                <a:gd name="T12" fmla="*/ 245 w 245"/>
                <a:gd name="T13" fmla="*/ 3 h 116"/>
                <a:gd name="T14" fmla="*/ 244 w 245"/>
                <a:gd name="T15" fmla="*/ 7 h 116"/>
                <a:gd name="T16" fmla="*/ 125 w 245"/>
                <a:gd name="T17" fmla="*/ 115 h 116"/>
                <a:gd name="T18" fmla="*/ 122 w 245"/>
                <a:gd name="T19" fmla="*/ 116 h 116"/>
                <a:gd name="T20" fmla="*/ 15 w 245"/>
                <a:gd name="T21" fmla="*/ 8 h 116"/>
                <a:gd name="T22" fmla="*/ 122 w 245"/>
                <a:gd name="T23" fmla="*/ 107 h 116"/>
                <a:gd name="T24" fmla="*/ 230 w 245"/>
                <a:gd name="T25" fmla="*/ 8 h 116"/>
                <a:gd name="T26" fmla="*/ 15 w 245"/>
                <a:gd name="T27" fmla="*/ 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5" h="116">
                  <a:moveTo>
                    <a:pt x="122" y="116"/>
                  </a:moveTo>
                  <a:cubicBezTo>
                    <a:pt x="121" y="116"/>
                    <a:pt x="120" y="116"/>
                    <a:pt x="120" y="115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6"/>
                    <a:pt x="0" y="4"/>
                    <a:pt x="0" y="3"/>
                  </a:cubicBezTo>
                  <a:cubicBezTo>
                    <a:pt x="1" y="1"/>
                    <a:pt x="2" y="0"/>
                    <a:pt x="4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3" y="0"/>
                    <a:pt x="244" y="1"/>
                    <a:pt x="245" y="3"/>
                  </a:cubicBezTo>
                  <a:cubicBezTo>
                    <a:pt x="245" y="4"/>
                    <a:pt x="245" y="6"/>
                    <a:pt x="244" y="7"/>
                  </a:cubicBezTo>
                  <a:cubicBezTo>
                    <a:pt x="125" y="115"/>
                    <a:pt x="125" y="115"/>
                    <a:pt x="125" y="115"/>
                  </a:cubicBezTo>
                  <a:cubicBezTo>
                    <a:pt x="124" y="116"/>
                    <a:pt x="123" y="116"/>
                    <a:pt x="122" y="116"/>
                  </a:cubicBezTo>
                  <a:close/>
                  <a:moveTo>
                    <a:pt x="15" y="8"/>
                  </a:moveTo>
                  <a:cubicBezTo>
                    <a:pt x="122" y="107"/>
                    <a:pt x="122" y="107"/>
                    <a:pt x="122" y="107"/>
                  </a:cubicBezTo>
                  <a:cubicBezTo>
                    <a:pt x="230" y="8"/>
                    <a:pt x="230" y="8"/>
                    <a:pt x="230" y="8"/>
                  </a:cubicBezTo>
                  <a:lnTo>
                    <a:pt x="15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2" name="Freeform 7">
              <a:extLst>
                <a:ext uri="{FF2B5EF4-FFF2-40B4-BE49-F238E27FC236}">
                  <a16:creationId xmlns:a16="http://schemas.microsoft.com/office/drawing/2014/main" id="{8A1F3AF6-FFCA-7AAC-D4E0-5CDBFDAFA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01027" y="4158667"/>
              <a:ext cx="615530" cy="199742"/>
            </a:xfrm>
            <a:custGeom>
              <a:avLst/>
              <a:gdLst>
                <a:gd name="T0" fmla="*/ 241 w 245"/>
                <a:gd name="T1" fmla="*/ 79 h 79"/>
                <a:gd name="T2" fmla="*/ 4 w 245"/>
                <a:gd name="T3" fmla="*/ 79 h 79"/>
                <a:gd name="T4" fmla="*/ 0 w 245"/>
                <a:gd name="T5" fmla="*/ 76 h 79"/>
                <a:gd name="T6" fmla="*/ 2 w 245"/>
                <a:gd name="T7" fmla="*/ 72 h 79"/>
                <a:gd name="T8" fmla="*/ 95 w 245"/>
                <a:gd name="T9" fmla="*/ 2 h 79"/>
                <a:gd name="T10" fmla="*/ 101 w 245"/>
                <a:gd name="T11" fmla="*/ 2 h 79"/>
                <a:gd name="T12" fmla="*/ 100 w 245"/>
                <a:gd name="T13" fmla="*/ 8 h 79"/>
                <a:gd name="T14" fmla="*/ 16 w 245"/>
                <a:gd name="T15" fmla="*/ 71 h 79"/>
                <a:gd name="T16" fmla="*/ 229 w 245"/>
                <a:gd name="T17" fmla="*/ 71 h 79"/>
                <a:gd name="T18" fmla="*/ 146 w 245"/>
                <a:gd name="T19" fmla="*/ 9 h 79"/>
                <a:gd name="T20" fmla="*/ 145 w 245"/>
                <a:gd name="T21" fmla="*/ 3 h 79"/>
                <a:gd name="T22" fmla="*/ 151 w 245"/>
                <a:gd name="T23" fmla="*/ 2 h 79"/>
                <a:gd name="T24" fmla="*/ 243 w 245"/>
                <a:gd name="T25" fmla="*/ 72 h 79"/>
                <a:gd name="T26" fmla="*/ 245 w 245"/>
                <a:gd name="T27" fmla="*/ 76 h 79"/>
                <a:gd name="T28" fmla="*/ 241 w 245"/>
                <a:gd name="T29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5" h="79">
                  <a:moveTo>
                    <a:pt x="241" y="79"/>
                  </a:moveTo>
                  <a:cubicBezTo>
                    <a:pt x="4" y="79"/>
                    <a:pt x="4" y="79"/>
                    <a:pt x="4" y="79"/>
                  </a:cubicBezTo>
                  <a:cubicBezTo>
                    <a:pt x="2" y="79"/>
                    <a:pt x="1" y="78"/>
                    <a:pt x="0" y="76"/>
                  </a:cubicBezTo>
                  <a:cubicBezTo>
                    <a:pt x="0" y="75"/>
                    <a:pt x="0" y="73"/>
                    <a:pt x="2" y="72"/>
                  </a:cubicBezTo>
                  <a:cubicBezTo>
                    <a:pt x="95" y="2"/>
                    <a:pt x="95" y="2"/>
                    <a:pt x="95" y="2"/>
                  </a:cubicBezTo>
                  <a:cubicBezTo>
                    <a:pt x="97" y="0"/>
                    <a:pt x="100" y="1"/>
                    <a:pt x="101" y="2"/>
                  </a:cubicBezTo>
                  <a:cubicBezTo>
                    <a:pt x="103" y="4"/>
                    <a:pt x="102" y="7"/>
                    <a:pt x="100" y="8"/>
                  </a:cubicBezTo>
                  <a:cubicBezTo>
                    <a:pt x="16" y="71"/>
                    <a:pt x="16" y="71"/>
                    <a:pt x="16" y="71"/>
                  </a:cubicBezTo>
                  <a:cubicBezTo>
                    <a:pt x="229" y="71"/>
                    <a:pt x="229" y="71"/>
                    <a:pt x="229" y="71"/>
                  </a:cubicBezTo>
                  <a:cubicBezTo>
                    <a:pt x="146" y="9"/>
                    <a:pt x="146" y="9"/>
                    <a:pt x="146" y="9"/>
                  </a:cubicBezTo>
                  <a:cubicBezTo>
                    <a:pt x="144" y="8"/>
                    <a:pt x="143" y="5"/>
                    <a:pt x="145" y="3"/>
                  </a:cubicBezTo>
                  <a:cubicBezTo>
                    <a:pt x="146" y="1"/>
                    <a:pt x="149" y="1"/>
                    <a:pt x="151" y="2"/>
                  </a:cubicBezTo>
                  <a:cubicBezTo>
                    <a:pt x="243" y="72"/>
                    <a:pt x="243" y="72"/>
                    <a:pt x="243" y="72"/>
                  </a:cubicBezTo>
                  <a:cubicBezTo>
                    <a:pt x="245" y="73"/>
                    <a:pt x="245" y="75"/>
                    <a:pt x="245" y="76"/>
                  </a:cubicBezTo>
                  <a:cubicBezTo>
                    <a:pt x="244" y="78"/>
                    <a:pt x="243" y="79"/>
                    <a:pt x="241" y="7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1" name="Shape2_20200717_154352">
            <a:extLst>
              <a:ext uri="{FF2B5EF4-FFF2-40B4-BE49-F238E27FC236}">
                <a16:creationId xmlns:a16="http://schemas.microsoft.com/office/drawing/2014/main" id="{8723E173-BCFB-B7D6-AF85-6292C8F234AA}"/>
              </a:ext>
            </a:extLst>
          </p:cNvPr>
          <p:cNvGrpSpPr>
            <a:grpSpLocks noChangeAspect="1"/>
          </p:cNvGrpSpPr>
          <p:nvPr/>
        </p:nvGrpSpPr>
        <p:grpSpPr>
          <a:xfrm>
            <a:off x="5804700" y="2604152"/>
            <a:ext cx="611452" cy="521772"/>
            <a:chOff x="-7516232" y="3865170"/>
            <a:chExt cx="611452" cy="521772"/>
          </a:xfrm>
          <a:solidFill>
            <a:schemeClr val="accent1"/>
          </a:solidFill>
        </p:grpSpPr>
        <p:sp>
          <p:nvSpPr>
            <p:cNvPr id="296" name="Freeform 8">
              <a:extLst>
                <a:ext uri="{FF2B5EF4-FFF2-40B4-BE49-F238E27FC236}">
                  <a16:creationId xmlns:a16="http://schemas.microsoft.com/office/drawing/2014/main" id="{BD830E1C-4450-0AAF-03A1-5776361211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516232" y="3865170"/>
              <a:ext cx="611452" cy="521772"/>
            </a:xfrm>
            <a:custGeom>
              <a:avLst/>
              <a:gdLst>
                <a:gd name="T0" fmla="*/ 195 w 242"/>
                <a:gd name="T1" fmla="*/ 207 h 207"/>
                <a:gd name="T2" fmla="*/ 185 w 242"/>
                <a:gd name="T3" fmla="*/ 203 h 207"/>
                <a:gd name="T4" fmla="*/ 147 w 242"/>
                <a:gd name="T5" fmla="*/ 164 h 207"/>
                <a:gd name="T6" fmla="*/ 13 w 242"/>
                <a:gd name="T7" fmla="*/ 164 h 207"/>
                <a:gd name="T8" fmla="*/ 0 w 242"/>
                <a:gd name="T9" fmla="*/ 151 h 207"/>
                <a:gd name="T10" fmla="*/ 0 w 242"/>
                <a:gd name="T11" fmla="*/ 13 h 207"/>
                <a:gd name="T12" fmla="*/ 13 w 242"/>
                <a:gd name="T13" fmla="*/ 0 h 207"/>
                <a:gd name="T14" fmla="*/ 229 w 242"/>
                <a:gd name="T15" fmla="*/ 0 h 207"/>
                <a:gd name="T16" fmla="*/ 242 w 242"/>
                <a:gd name="T17" fmla="*/ 13 h 207"/>
                <a:gd name="T18" fmla="*/ 242 w 242"/>
                <a:gd name="T19" fmla="*/ 151 h 207"/>
                <a:gd name="T20" fmla="*/ 229 w 242"/>
                <a:gd name="T21" fmla="*/ 164 h 207"/>
                <a:gd name="T22" fmla="*/ 208 w 242"/>
                <a:gd name="T23" fmla="*/ 164 h 207"/>
                <a:gd name="T24" fmla="*/ 208 w 242"/>
                <a:gd name="T25" fmla="*/ 193 h 207"/>
                <a:gd name="T26" fmla="*/ 200 w 242"/>
                <a:gd name="T27" fmla="*/ 206 h 207"/>
                <a:gd name="T28" fmla="*/ 195 w 242"/>
                <a:gd name="T29" fmla="*/ 207 h 207"/>
                <a:gd name="T30" fmla="*/ 13 w 242"/>
                <a:gd name="T31" fmla="*/ 8 h 207"/>
                <a:gd name="T32" fmla="*/ 8 w 242"/>
                <a:gd name="T33" fmla="*/ 13 h 207"/>
                <a:gd name="T34" fmla="*/ 8 w 242"/>
                <a:gd name="T35" fmla="*/ 151 h 207"/>
                <a:gd name="T36" fmla="*/ 13 w 242"/>
                <a:gd name="T37" fmla="*/ 156 h 207"/>
                <a:gd name="T38" fmla="*/ 148 w 242"/>
                <a:gd name="T39" fmla="*/ 156 h 207"/>
                <a:gd name="T40" fmla="*/ 151 w 242"/>
                <a:gd name="T41" fmla="*/ 157 h 207"/>
                <a:gd name="T42" fmla="*/ 191 w 242"/>
                <a:gd name="T43" fmla="*/ 197 h 207"/>
                <a:gd name="T44" fmla="*/ 197 w 242"/>
                <a:gd name="T45" fmla="*/ 198 h 207"/>
                <a:gd name="T46" fmla="*/ 200 w 242"/>
                <a:gd name="T47" fmla="*/ 193 h 207"/>
                <a:gd name="T48" fmla="*/ 200 w 242"/>
                <a:gd name="T49" fmla="*/ 160 h 207"/>
                <a:gd name="T50" fmla="*/ 204 w 242"/>
                <a:gd name="T51" fmla="*/ 156 h 207"/>
                <a:gd name="T52" fmla="*/ 229 w 242"/>
                <a:gd name="T53" fmla="*/ 156 h 207"/>
                <a:gd name="T54" fmla="*/ 234 w 242"/>
                <a:gd name="T55" fmla="*/ 151 h 207"/>
                <a:gd name="T56" fmla="*/ 234 w 242"/>
                <a:gd name="T57" fmla="*/ 13 h 207"/>
                <a:gd name="T58" fmla="*/ 229 w 242"/>
                <a:gd name="T59" fmla="*/ 8 h 207"/>
                <a:gd name="T60" fmla="*/ 13 w 242"/>
                <a:gd name="T61" fmla="*/ 8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42" h="207">
                  <a:moveTo>
                    <a:pt x="195" y="207"/>
                  </a:moveTo>
                  <a:cubicBezTo>
                    <a:pt x="191" y="207"/>
                    <a:pt x="188" y="206"/>
                    <a:pt x="185" y="203"/>
                  </a:cubicBezTo>
                  <a:cubicBezTo>
                    <a:pt x="147" y="164"/>
                    <a:pt x="147" y="164"/>
                    <a:pt x="147" y="164"/>
                  </a:cubicBezTo>
                  <a:cubicBezTo>
                    <a:pt x="13" y="164"/>
                    <a:pt x="13" y="164"/>
                    <a:pt x="13" y="164"/>
                  </a:cubicBezTo>
                  <a:cubicBezTo>
                    <a:pt x="6" y="164"/>
                    <a:pt x="0" y="158"/>
                    <a:pt x="0" y="15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36" y="0"/>
                    <a:pt x="242" y="6"/>
                    <a:pt x="242" y="13"/>
                  </a:cubicBezTo>
                  <a:cubicBezTo>
                    <a:pt x="242" y="151"/>
                    <a:pt x="242" y="151"/>
                    <a:pt x="242" y="151"/>
                  </a:cubicBezTo>
                  <a:cubicBezTo>
                    <a:pt x="242" y="158"/>
                    <a:pt x="236" y="164"/>
                    <a:pt x="229" y="164"/>
                  </a:cubicBezTo>
                  <a:cubicBezTo>
                    <a:pt x="208" y="164"/>
                    <a:pt x="208" y="164"/>
                    <a:pt x="208" y="164"/>
                  </a:cubicBezTo>
                  <a:cubicBezTo>
                    <a:pt x="208" y="193"/>
                    <a:pt x="208" y="193"/>
                    <a:pt x="208" y="193"/>
                  </a:cubicBezTo>
                  <a:cubicBezTo>
                    <a:pt x="208" y="199"/>
                    <a:pt x="205" y="204"/>
                    <a:pt x="200" y="206"/>
                  </a:cubicBezTo>
                  <a:cubicBezTo>
                    <a:pt x="198" y="207"/>
                    <a:pt x="197" y="207"/>
                    <a:pt x="195" y="207"/>
                  </a:cubicBezTo>
                  <a:close/>
                  <a:moveTo>
                    <a:pt x="13" y="8"/>
                  </a:moveTo>
                  <a:cubicBezTo>
                    <a:pt x="10" y="8"/>
                    <a:pt x="8" y="10"/>
                    <a:pt x="8" y="13"/>
                  </a:cubicBezTo>
                  <a:cubicBezTo>
                    <a:pt x="8" y="151"/>
                    <a:pt x="8" y="151"/>
                    <a:pt x="8" y="151"/>
                  </a:cubicBezTo>
                  <a:cubicBezTo>
                    <a:pt x="8" y="154"/>
                    <a:pt x="10" y="156"/>
                    <a:pt x="13" y="156"/>
                  </a:cubicBezTo>
                  <a:cubicBezTo>
                    <a:pt x="148" y="156"/>
                    <a:pt x="148" y="156"/>
                    <a:pt x="148" y="156"/>
                  </a:cubicBezTo>
                  <a:cubicBezTo>
                    <a:pt x="149" y="156"/>
                    <a:pt x="150" y="156"/>
                    <a:pt x="151" y="157"/>
                  </a:cubicBezTo>
                  <a:cubicBezTo>
                    <a:pt x="191" y="197"/>
                    <a:pt x="191" y="197"/>
                    <a:pt x="191" y="197"/>
                  </a:cubicBezTo>
                  <a:cubicBezTo>
                    <a:pt x="193" y="199"/>
                    <a:pt x="196" y="199"/>
                    <a:pt x="197" y="198"/>
                  </a:cubicBezTo>
                  <a:cubicBezTo>
                    <a:pt x="198" y="198"/>
                    <a:pt x="200" y="197"/>
                    <a:pt x="200" y="193"/>
                  </a:cubicBezTo>
                  <a:cubicBezTo>
                    <a:pt x="200" y="160"/>
                    <a:pt x="200" y="160"/>
                    <a:pt x="200" y="160"/>
                  </a:cubicBezTo>
                  <a:cubicBezTo>
                    <a:pt x="200" y="158"/>
                    <a:pt x="202" y="156"/>
                    <a:pt x="204" y="156"/>
                  </a:cubicBezTo>
                  <a:cubicBezTo>
                    <a:pt x="229" y="156"/>
                    <a:pt x="229" y="156"/>
                    <a:pt x="229" y="156"/>
                  </a:cubicBezTo>
                  <a:cubicBezTo>
                    <a:pt x="232" y="156"/>
                    <a:pt x="234" y="154"/>
                    <a:pt x="234" y="151"/>
                  </a:cubicBezTo>
                  <a:cubicBezTo>
                    <a:pt x="234" y="13"/>
                    <a:pt x="234" y="13"/>
                    <a:pt x="234" y="13"/>
                  </a:cubicBezTo>
                  <a:cubicBezTo>
                    <a:pt x="234" y="10"/>
                    <a:pt x="232" y="8"/>
                    <a:pt x="229" y="8"/>
                  </a:cubicBezTo>
                  <a:lnTo>
                    <a:pt x="13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7" name="Freeform 9">
              <a:extLst>
                <a:ext uri="{FF2B5EF4-FFF2-40B4-BE49-F238E27FC236}">
                  <a16:creationId xmlns:a16="http://schemas.microsoft.com/office/drawing/2014/main" id="{59215B49-515C-DFCB-0F0C-EAF939FF1020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93942" y="3979308"/>
              <a:ext cx="256811" cy="20383"/>
            </a:xfrm>
            <a:custGeom>
              <a:avLst/>
              <a:gdLst>
                <a:gd name="T0" fmla="*/ 98 w 102"/>
                <a:gd name="T1" fmla="*/ 8 h 8"/>
                <a:gd name="T2" fmla="*/ 4 w 102"/>
                <a:gd name="T3" fmla="*/ 8 h 8"/>
                <a:gd name="T4" fmla="*/ 0 w 102"/>
                <a:gd name="T5" fmla="*/ 4 h 8"/>
                <a:gd name="T6" fmla="*/ 4 w 102"/>
                <a:gd name="T7" fmla="*/ 0 h 8"/>
                <a:gd name="T8" fmla="*/ 98 w 102"/>
                <a:gd name="T9" fmla="*/ 0 h 8"/>
                <a:gd name="T10" fmla="*/ 102 w 102"/>
                <a:gd name="T11" fmla="*/ 4 h 8"/>
                <a:gd name="T12" fmla="*/ 98 w 102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2" h="8">
                  <a:moveTo>
                    <a:pt x="98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100" y="0"/>
                    <a:pt x="102" y="2"/>
                    <a:pt x="102" y="4"/>
                  </a:cubicBezTo>
                  <a:cubicBezTo>
                    <a:pt x="102" y="6"/>
                    <a:pt x="100" y="8"/>
                    <a:pt x="9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8" name="Freeform 10">
              <a:extLst>
                <a:ext uri="{FF2B5EF4-FFF2-40B4-BE49-F238E27FC236}">
                  <a16:creationId xmlns:a16="http://schemas.microsoft.com/office/drawing/2014/main" id="{5732FF96-B925-BD62-316A-226FA53EA304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93942" y="4060835"/>
              <a:ext cx="366871" cy="20383"/>
            </a:xfrm>
            <a:custGeom>
              <a:avLst/>
              <a:gdLst>
                <a:gd name="T0" fmla="*/ 142 w 146"/>
                <a:gd name="T1" fmla="*/ 8 h 8"/>
                <a:gd name="T2" fmla="*/ 4 w 146"/>
                <a:gd name="T3" fmla="*/ 8 h 8"/>
                <a:gd name="T4" fmla="*/ 0 w 146"/>
                <a:gd name="T5" fmla="*/ 4 h 8"/>
                <a:gd name="T6" fmla="*/ 4 w 146"/>
                <a:gd name="T7" fmla="*/ 0 h 8"/>
                <a:gd name="T8" fmla="*/ 142 w 146"/>
                <a:gd name="T9" fmla="*/ 0 h 8"/>
                <a:gd name="T10" fmla="*/ 146 w 146"/>
                <a:gd name="T11" fmla="*/ 4 h 8"/>
                <a:gd name="T12" fmla="*/ 142 w 146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8">
                  <a:moveTo>
                    <a:pt x="142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42" y="0"/>
                    <a:pt x="142" y="0"/>
                    <a:pt x="142" y="0"/>
                  </a:cubicBezTo>
                  <a:cubicBezTo>
                    <a:pt x="144" y="0"/>
                    <a:pt x="146" y="1"/>
                    <a:pt x="146" y="4"/>
                  </a:cubicBezTo>
                  <a:cubicBezTo>
                    <a:pt x="146" y="6"/>
                    <a:pt x="144" y="8"/>
                    <a:pt x="14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9" name="Freeform 11">
              <a:extLst>
                <a:ext uri="{FF2B5EF4-FFF2-40B4-BE49-F238E27FC236}">
                  <a16:creationId xmlns:a16="http://schemas.microsoft.com/office/drawing/2014/main" id="{CB11CC0E-E2E0-A95A-DDFA-96E2C2B20E06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93942" y="4146437"/>
              <a:ext cx="366871" cy="20383"/>
            </a:xfrm>
            <a:custGeom>
              <a:avLst/>
              <a:gdLst>
                <a:gd name="T0" fmla="*/ 142 w 146"/>
                <a:gd name="T1" fmla="*/ 8 h 8"/>
                <a:gd name="T2" fmla="*/ 4 w 146"/>
                <a:gd name="T3" fmla="*/ 8 h 8"/>
                <a:gd name="T4" fmla="*/ 0 w 146"/>
                <a:gd name="T5" fmla="*/ 4 h 8"/>
                <a:gd name="T6" fmla="*/ 4 w 146"/>
                <a:gd name="T7" fmla="*/ 0 h 8"/>
                <a:gd name="T8" fmla="*/ 142 w 146"/>
                <a:gd name="T9" fmla="*/ 0 h 8"/>
                <a:gd name="T10" fmla="*/ 146 w 146"/>
                <a:gd name="T11" fmla="*/ 4 h 8"/>
                <a:gd name="T12" fmla="*/ 142 w 146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8">
                  <a:moveTo>
                    <a:pt x="142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42" y="0"/>
                    <a:pt x="142" y="0"/>
                    <a:pt x="142" y="0"/>
                  </a:cubicBezTo>
                  <a:cubicBezTo>
                    <a:pt x="144" y="0"/>
                    <a:pt x="146" y="1"/>
                    <a:pt x="146" y="4"/>
                  </a:cubicBezTo>
                  <a:cubicBezTo>
                    <a:pt x="146" y="6"/>
                    <a:pt x="144" y="8"/>
                    <a:pt x="14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2" name="Shape3_20200717_154352">
            <a:extLst>
              <a:ext uri="{FF2B5EF4-FFF2-40B4-BE49-F238E27FC236}">
                <a16:creationId xmlns:a16="http://schemas.microsoft.com/office/drawing/2014/main" id="{8B2E7D7C-8787-C61C-4A12-305085DAEBFC}"/>
              </a:ext>
            </a:extLst>
          </p:cNvPr>
          <p:cNvGrpSpPr>
            <a:grpSpLocks noChangeAspect="1"/>
          </p:cNvGrpSpPr>
          <p:nvPr/>
        </p:nvGrpSpPr>
        <p:grpSpPr>
          <a:xfrm>
            <a:off x="8459539" y="1184303"/>
            <a:ext cx="493239" cy="639988"/>
            <a:chOff x="-8820664" y="2393608"/>
            <a:chExt cx="493239" cy="639988"/>
          </a:xfrm>
          <a:solidFill>
            <a:schemeClr val="accent1"/>
          </a:solidFill>
        </p:grpSpPr>
        <p:sp>
          <p:nvSpPr>
            <p:cNvPr id="288" name="Freeform 12">
              <a:extLst>
                <a:ext uri="{FF2B5EF4-FFF2-40B4-BE49-F238E27FC236}">
                  <a16:creationId xmlns:a16="http://schemas.microsoft.com/office/drawing/2014/main" id="{7CABC6F1-3E9B-5E9E-E758-FF5B66675B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8820664" y="2393608"/>
              <a:ext cx="493239" cy="639988"/>
            </a:xfrm>
            <a:custGeom>
              <a:avLst/>
              <a:gdLst>
                <a:gd name="T0" fmla="*/ 176 w 196"/>
                <a:gd name="T1" fmla="*/ 254 h 254"/>
                <a:gd name="T2" fmla="*/ 20 w 196"/>
                <a:gd name="T3" fmla="*/ 254 h 254"/>
                <a:gd name="T4" fmla="*/ 0 w 196"/>
                <a:gd name="T5" fmla="*/ 234 h 254"/>
                <a:gd name="T6" fmla="*/ 0 w 196"/>
                <a:gd name="T7" fmla="*/ 20 h 254"/>
                <a:gd name="T8" fmla="*/ 20 w 196"/>
                <a:gd name="T9" fmla="*/ 0 h 254"/>
                <a:gd name="T10" fmla="*/ 176 w 196"/>
                <a:gd name="T11" fmla="*/ 0 h 254"/>
                <a:gd name="T12" fmla="*/ 196 w 196"/>
                <a:gd name="T13" fmla="*/ 20 h 254"/>
                <a:gd name="T14" fmla="*/ 196 w 196"/>
                <a:gd name="T15" fmla="*/ 234 h 254"/>
                <a:gd name="T16" fmla="*/ 176 w 196"/>
                <a:gd name="T17" fmla="*/ 254 h 254"/>
                <a:gd name="T18" fmla="*/ 20 w 196"/>
                <a:gd name="T19" fmla="*/ 8 h 254"/>
                <a:gd name="T20" fmla="*/ 8 w 196"/>
                <a:gd name="T21" fmla="*/ 20 h 254"/>
                <a:gd name="T22" fmla="*/ 8 w 196"/>
                <a:gd name="T23" fmla="*/ 234 h 254"/>
                <a:gd name="T24" fmla="*/ 20 w 196"/>
                <a:gd name="T25" fmla="*/ 245 h 254"/>
                <a:gd name="T26" fmla="*/ 176 w 196"/>
                <a:gd name="T27" fmla="*/ 245 h 254"/>
                <a:gd name="T28" fmla="*/ 188 w 196"/>
                <a:gd name="T29" fmla="*/ 234 h 254"/>
                <a:gd name="T30" fmla="*/ 188 w 196"/>
                <a:gd name="T31" fmla="*/ 20 h 254"/>
                <a:gd name="T32" fmla="*/ 176 w 196"/>
                <a:gd name="T33" fmla="*/ 8 h 254"/>
                <a:gd name="T34" fmla="*/ 20 w 196"/>
                <a:gd name="T35" fmla="*/ 8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6" h="254">
                  <a:moveTo>
                    <a:pt x="176" y="254"/>
                  </a:moveTo>
                  <a:cubicBezTo>
                    <a:pt x="20" y="254"/>
                    <a:pt x="20" y="254"/>
                    <a:pt x="20" y="254"/>
                  </a:cubicBezTo>
                  <a:cubicBezTo>
                    <a:pt x="9" y="254"/>
                    <a:pt x="0" y="245"/>
                    <a:pt x="0" y="234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176" y="0"/>
                    <a:pt x="176" y="0"/>
                    <a:pt x="176" y="0"/>
                  </a:cubicBezTo>
                  <a:cubicBezTo>
                    <a:pt x="187" y="0"/>
                    <a:pt x="196" y="9"/>
                    <a:pt x="196" y="20"/>
                  </a:cubicBezTo>
                  <a:cubicBezTo>
                    <a:pt x="196" y="234"/>
                    <a:pt x="196" y="234"/>
                    <a:pt x="196" y="234"/>
                  </a:cubicBezTo>
                  <a:cubicBezTo>
                    <a:pt x="196" y="245"/>
                    <a:pt x="187" y="254"/>
                    <a:pt x="176" y="254"/>
                  </a:cubicBezTo>
                  <a:close/>
                  <a:moveTo>
                    <a:pt x="20" y="8"/>
                  </a:moveTo>
                  <a:cubicBezTo>
                    <a:pt x="13" y="8"/>
                    <a:pt x="8" y="13"/>
                    <a:pt x="8" y="20"/>
                  </a:cubicBezTo>
                  <a:cubicBezTo>
                    <a:pt x="8" y="234"/>
                    <a:pt x="8" y="234"/>
                    <a:pt x="8" y="234"/>
                  </a:cubicBezTo>
                  <a:cubicBezTo>
                    <a:pt x="8" y="240"/>
                    <a:pt x="13" y="245"/>
                    <a:pt x="20" y="245"/>
                  </a:cubicBezTo>
                  <a:cubicBezTo>
                    <a:pt x="176" y="245"/>
                    <a:pt x="176" y="245"/>
                    <a:pt x="176" y="245"/>
                  </a:cubicBezTo>
                  <a:cubicBezTo>
                    <a:pt x="183" y="245"/>
                    <a:pt x="188" y="240"/>
                    <a:pt x="188" y="234"/>
                  </a:cubicBezTo>
                  <a:cubicBezTo>
                    <a:pt x="188" y="20"/>
                    <a:pt x="188" y="20"/>
                    <a:pt x="188" y="20"/>
                  </a:cubicBezTo>
                  <a:cubicBezTo>
                    <a:pt x="188" y="13"/>
                    <a:pt x="183" y="8"/>
                    <a:pt x="176" y="8"/>
                  </a:cubicBezTo>
                  <a:lnTo>
                    <a:pt x="20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9" name="Freeform 13">
              <a:extLst>
                <a:ext uri="{FF2B5EF4-FFF2-40B4-BE49-F238E27FC236}">
                  <a16:creationId xmlns:a16="http://schemas.microsoft.com/office/drawing/2014/main" id="{C4D4F518-E08A-821D-D773-4F67E63817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8755442" y="2393608"/>
              <a:ext cx="362796" cy="85605"/>
            </a:xfrm>
            <a:custGeom>
              <a:avLst/>
              <a:gdLst>
                <a:gd name="T0" fmla="*/ 139 w 144"/>
                <a:gd name="T1" fmla="*/ 33 h 33"/>
                <a:gd name="T2" fmla="*/ 5 w 144"/>
                <a:gd name="T3" fmla="*/ 33 h 33"/>
                <a:gd name="T4" fmla="*/ 0 w 144"/>
                <a:gd name="T5" fmla="*/ 28 h 33"/>
                <a:gd name="T6" fmla="*/ 0 w 144"/>
                <a:gd name="T7" fmla="*/ 4 h 33"/>
                <a:gd name="T8" fmla="*/ 5 w 144"/>
                <a:gd name="T9" fmla="*/ 0 h 33"/>
                <a:gd name="T10" fmla="*/ 139 w 144"/>
                <a:gd name="T11" fmla="*/ 0 h 33"/>
                <a:gd name="T12" fmla="*/ 144 w 144"/>
                <a:gd name="T13" fmla="*/ 4 h 33"/>
                <a:gd name="T14" fmla="*/ 144 w 144"/>
                <a:gd name="T15" fmla="*/ 28 h 33"/>
                <a:gd name="T16" fmla="*/ 139 w 144"/>
                <a:gd name="T17" fmla="*/ 33 h 33"/>
                <a:gd name="T18" fmla="*/ 9 w 144"/>
                <a:gd name="T19" fmla="*/ 24 h 33"/>
                <a:gd name="T20" fmla="*/ 135 w 144"/>
                <a:gd name="T21" fmla="*/ 24 h 33"/>
                <a:gd name="T22" fmla="*/ 135 w 144"/>
                <a:gd name="T23" fmla="*/ 8 h 33"/>
                <a:gd name="T24" fmla="*/ 9 w 144"/>
                <a:gd name="T25" fmla="*/ 8 h 33"/>
                <a:gd name="T26" fmla="*/ 9 w 144"/>
                <a:gd name="T27" fmla="*/ 24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4" h="33">
                  <a:moveTo>
                    <a:pt x="139" y="33"/>
                  </a:moveTo>
                  <a:cubicBezTo>
                    <a:pt x="5" y="33"/>
                    <a:pt x="5" y="33"/>
                    <a:pt x="5" y="33"/>
                  </a:cubicBezTo>
                  <a:cubicBezTo>
                    <a:pt x="2" y="33"/>
                    <a:pt x="0" y="31"/>
                    <a:pt x="0" y="2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39" y="0"/>
                    <a:pt x="139" y="0"/>
                    <a:pt x="139" y="0"/>
                  </a:cubicBezTo>
                  <a:cubicBezTo>
                    <a:pt x="142" y="0"/>
                    <a:pt x="144" y="2"/>
                    <a:pt x="144" y="4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4" y="31"/>
                    <a:pt x="142" y="33"/>
                    <a:pt x="139" y="33"/>
                  </a:cubicBezTo>
                  <a:close/>
                  <a:moveTo>
                    <a:pt x="9" y="24"/>
                  </a:moveTo>
                  <a:cubicBezTo>
                    <a:pt x="135" y="24"/>
                    <a:pt x="135" y="24"/>
                    <a:pt x="135" y="24"/>
                  </a:cubicBezTo>
                  <a:cubicBezTo>
                    <a:pt x="135" y="8"/>
                    <a:pt x="135" y="8"/>
                    <a:pt x="135" y="8"/>
                  </a:cubicBezTo>
                  <a:cubicBezTo>
                    <a:pt x="9" y="8"/>
                    <a:pt x="9" y="8"/>
                    <a:pt x="9" y="8"/>
                  </a:cubicBezTo>
                  <a:lnTo>
                    <a:pt x="9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0" name="Freeform 14">
              <a:extLst>
                <a:ext uri="{FF2B5EF4-FFF2-40B4-BE49-F238E27FC236}">
                  <a16:creationId xmlns:a16="http://schemas.microsoft.com/office/drawing/2014/main" id="{4950DA20-98A8-8533-F459-D3B408EBCD85}"/>
                </a:ext>
              </a:extLst>
            </p:cNvPr>
            <p:cNvSpPr>
              <a:spLocks/>
            </p:cNvSpPr>
            <p:nvPr/>
          </p:nvSpPr>
          <p:spPr bwMode="auto">
            <a:xfrm>
              <a:off x="-8726906" y="2572967"/>
              <a:ext cx="101910" cy="73374"/>
            </a:xfrm>
            <a:custGeom>
              <a:avLst/>
              <a:gdLst>
                <a:gd name="T0" fmla="*/ 15 w 40"/>
                <a:gd name="T1" fmla="*/ 30 h 30"/>
                <a:gd name="T2" fmla="*/ 12 w 40"/>
                <a:gd name="T3" fmla="*/ 28 h 30"/>
                <a:gd name="T4" fmla="*/ 1 w 40"/>
                <a:gd name="T5" fmla="*/ 18 h 30"/>
                <a:gd name="T6" fmla="*/ 1 w 40"/>
                <a:gd name="T7" fmla="*/ 12 h 30"/>
                <a:gd name="T8" fmla="*/ 7 w 40"/>
                <a:gd name="T9" fmla="*/ 12 h 30"/>
                <a:gd name="T10" fmla="*/ 15 w 40"/>
                <a:gd name="T11" fmla="*/ 20 h 30"/>
                <a:gd name="T12" fmla="*/ 33 w 40"/>
                <a:gd name="T13" fmla="*/ 2 h 30"/>
                <a:gd name="T14" fmla="*/ 38 w 40"/>
                <a:gd name="T15" fmla="*/ 2 h 30"/>
                <a:gd name="T16" fmla="*/ 38 w 40"/>
                <a:gd name="T17" fmla="*/ 8 h 30"/>
                <a:gd name="T18" fmla="*/ 18 w 40"/>
                <a:gd name="T19" fmla="*/ 28 h 30"/>
                <a:gd name="T20" fmla="*/ 15 w 40"/>
                <a:gd name="T2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" h="30">
                  <a:moveTo>
                    <a:pt x="15" y="30"/>
                  </a:moveTo>
                  <a:cubicBezTo>
                    <a:pt x="14" y="30"/>
                    <a:pt x="13" y="29"/>
                    <a:pt x="12" y="2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0" y="16"/>
                    <a:pt x="0" y="14"/>
                    <a:pt x="1" y="12"/>
                  </a:cubicBezTo>
                  <a:cubicBezTo>
                    <a:pt x="3" y="11"/>
                    <a:pt x="6" y="11"/>
                    <a:pt x="7" y="12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4" y="0"/>
                    <a:pt x="37" y="0"/>
                    <a:pt x="38" y="2"/>
                  </a:cubicBezTo>
                  <a:cubicBezTo>
                    <a:pt x="40" y="4"/>
                    <a:pt x="40" y="6"/>
                    <a:pt x="38" y="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7" y="29"/>
                    <a:pt x="16" y="30"/>
                    <a:pt x="15" y="3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1" name="Freeform 15">
              <a:extLst>
                <a:ext uri="{FF2B5EF4-FFF2-40B4-BE49-F238E27FC236}">
                  <a16:creationId xmlns:a16="http://schemas.microsoft.com/office/drawing/2014/main" id="{F2B19719-0DB0-58DA-AD63-5D705B13139E}"/>
                </a:ext>
              </a:extLst>
            </p:cNvPr>
            <p:cNvSpPr>
              <a:spLocks/>
            </p:cNvSpPr>
            <p:nvPr/>
          </p:nvSpPr>
          <p:spPr bwMode="auto">
            <a:xfrm>
              <a:off x="-8726906" y="2703410"/>
              <a:ext cx="101910" cy="73374"/>
            </a:xfrm>
            <a:custGeom>
              <a:avLst/>
              <a:gdLst>
                <a:gd name="T0" fmla="*/ 15 w 40"/>
                <a:gd name="T1" fmla="*/ 29 h 29"/>
                <a:gd name="T2" fmla="*/ 12 w 40"/>
                <a:gd name="T3" fmla="*/ 28 h 29"/>
                <a:gd name="T4" fmla="*/ 1 w 40"/>
                <a:gd name="T5" fmla="*/ 18 h 29"/>
                <a:gd name="T6" fmla="*/ 1 w 40"/>
                <a:gd name="T7" fmla="*/ 12 h 29"/>
                <a:gd name="T8" fmla="*/ 7 w 40"/>
                <a:gd name="T9" fmla="*/ 12 h 29"/>
                <a:gd name="T10" fmla="*/ 15 w 40"/>
                <a:gd name="T11" fmla="*/ 19 h 29"/>
                <a:gd name="T12" fmla="*/ 33 w 40"/>
                <a:gd name="T13" fmla="*/ 2 h 29"/>
                <a:gd name="T14" fmla="*/ 38 w 40"/>
                <a:gd name="T15" fmla="*/ 2 h 29"/>
                <a:gd name="T16" fmla="*/ 38 w 40"/>
                <a:gd name="T17" fmla="*/ 7 h 29"/>
                <a:gd name="T18" fmla="*/ 18 w 40"/>
                <a:gd name="T19" fmla="*/ 28 h 29"/>
                <a:gd name="T20" fmla="*/ 15 w 40"/>
                <a:gd name="T21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" h="29">
                  <a:moveTo>
                    <a:pt x="15" y="29"/>
                  </a:moveTo>
                  <a:cubicBezTo>
                    <a:pt x="14" y="29"/>
                    <a:pt x="13" y="29"/>
                    <a:pt x="12" y="2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0" y="16"/>
                    <a:pt x="0" y="14"/>
                    <a:pt x="1" y="12"/>
                  </a:cubicBezTo>
                  <a:cubicBezTo>
                    <a:pt x="3" y="10"/>
                    <a:pt x="6" y="10"/>
                    <a:pt x="7" y="12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4" y="0"/>
                    <a:pt x="37" y="0"/>
                    <a:pt x="38" y="2"/>
                  </a:cubicBezTo>
                  <a:cubicBezTo>
                    <a:pt x="40" y="3"/>
                    <a:pt x="40" y="6"/>
                    <a:pt x="38" y="7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7" y="29"/>
                    <a:pt x="16" y="29"/>
                    <a:pt x="15" y="2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2" name="Freeform 16">
              <a:extLst>
                <a:ext uri="{FF2B5EF4-FFF2-40B4-BE49-F238E27FC236}">
                  <a16:creationId xmlns:a16="http://schemas.microsoft.com/office/drawing/2014/main" id="{06A1E8AE-45C3-107B-4871-C5AE91B60DB3}"/>
                </a:ext>
              </a:extLst>
            </p:cNvPr>
            <p:cNvSpPr>
              <a:spLocks/>
            </p:cNvSpPr>
            <p:nvPr/>
          </p:nvSpPr>
          <p:spPr bwMode="auto">
            <a:xfrm>
              <a:off x="-8726906" y="2833853"/>
              <a:ext cx="101910" cy="73374"/>
            </a:xfrm>
            <a:custGeom>
              <a:avLst/>
              <a:gdLst>
                <a:gd name="T0" fmla="*/ 15 w 40"/>
                <a:gd name="T1" fmla="*/ 29 h 29"/>
                <a:gd name="T2" fmla="*/ 12 w 40"/>
                <a:gd name="T3" fmla="*/ 28 h 29"/>
                <a:gd name="T4" fmla="*/ 1 w 40"/>
                <a:gd name="T5" fmla="*/ 18 h 29"/>
                <a:gd name="T6" fmla="*/ 1 w 40"/>
                <a:gd name="T7" fmla="*/ 12 h 29"/>
                <a:gd name="T8" fmla="*/ 7 w 40"/>
                <a:gd name="T9" fmla="*/ 12 h 29"/>
                <a:gd name="T10" fmla="*/ 15 w 40"/>
                <a:gd name="T11" fmla="*/ 19 h 29"/>
                <a:gd name="T12" fmla="*/ 33 w 40"/>
                <a:gd name="T13" fmla="*/ 1 h 29"/>
                <a:gd name="T14" fmla="*/ 38 w 40"/>
                <a:gd name="T15" fmla="*/ 1 h 29"/>
                <a:gd name="T16" fmla="*/ 38 w 40"/>
                <a:gd name="T17" fmla="*/ 7 h 29"/>
                <a:gd name="T18" fmla="*/ 18 w 40"/>
                <a:gd name="T19" fmla="*/ 28 h 29"/>
                <a:gd name="T20" fmla="*/ 15 w 40"/>
                <a:gd name="T21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" h="29">
                  <a:moveTo>
                    <a:pt x="15" y="29"/>
                  </a:moveTo>
                  <a:cubicBezTo>
                    <a:pt x="14" y="29"/>
                    <a:pt x="13" y="29"/>
                    <a:pt x="12" y="2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0" y="16"/>
                    <a:pt x="0" y="13"/>
                    <a:pt x="1" y="12"/>
                  </a:cubicBezTo>
                  <a:cubicBezTo>
                    <a:pt x="3" y="10"/>
                    <a:pt x="6" y="10"/>
                    <a:pt x="7" y="12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4" y="0"/>
                    <a:pt x="37" y="0"/>
                    <a:pt x="38" y="1"/>
                  </a:cubicBezTo>
                  <a:cubicBezTo>
                    <a:pt x="40" y="3"/>
                    <a:pt x="40" y="6"/>
                    <a:pt x="38" y="7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7" y="29"/>
                    <a:pt x="16" y="29"/>
                    <a:pt x="15" y="2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3" name="Freeform 17">
              <a:extLst>
                <a:ext uri="{FF2B5EF4-FFF2-40B4-BE49-F238E27FC236}">
                  <a16:creationId xmlns:a16="http://schemas.microsoft.com/office/drawing/2014/main" id="{731059DE-299F-FE6A-A86B-706979AC33AC}"/>
                </a:ext>
              </a:extLst>
            </p:cNvPr>
            <p:cNvSpPr>
              <a:spLocks/>
            </p:cNvSpPr>
            <p:nvPr/>
          </p:nvSpPr>
          <p:spPr bwMode="auto">
            <a:xfrm>
              <a:off x="-8588310" y="2621883"/>
              <a:ext cx="171207" cy="24458"/>
            </a:xfrm>
            <a:custGeom>
              <a:avLst/>
              <a:gdLst>
                <a:gd name="T0" fmla="*/ 63 w 67"/>
                <a:gd name="T1" fmla="*/ 9 h 9"/>
                <a:gd name="T2" fmla="*/ 4 w 67"/>
                <a:gd name="T3" fmla="*/ 9 h 9"/>
                <a:gd name="T4" fmla="*/ 0 w 67"/>
                <a:gd name="T5" fmla="*/ 5 h 9"/>
                <a:gd name="T6" fmla="*/ 4 w 67"/>
                <a:gd name="T7" fmla="*/ 0 h 9"/>
                <a:gd name="T8" fmla="*/ 63 w 67"/>
                <a:gd name="T9" fmla="*/ 0 h 9"/>
                <a:gd name="T10" fmla="*/ 67 w 67"/>
                <a:gd name="T11" fmla="*/ 5 h 9"/>
                <a:gd name="T12" fmla="*/ 63 w 67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9">
                  <a:moveTo>
                    <a:pt x="63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1" y="9"/>
                    <a:pt x="0" y="7"/>
                    <a:pt x="0" y="5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5" y="0"/>
                    <a:pt x="67" y="2"/>
                    <a:pt x="67" y="5"/>
                  </a:cubicBezTo>
                  <a:cubicBezTo>
                    <a:pt x="67" y="7"/>
                    <a:pt x="65" y="9"/>
                    <a:pt x="6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4" name="Freeform 18">
              <a:extLst>
                <a:ext uri="{FF2B5EF4-FFF2-40B4-BE49-F238E27FC236}">
                  <a16:creationId xmlns:a16="http://schemas.microsoft.com/office/drawing/2014/main" id="{CF3145D6-69C7-E7A3-317A-1B0B3456EEDE}"/>
                </a:ext>
              </a:extLst>
            </p:cNvPr>
            <p:cNvSpPr>
              <a:spLocks/>
            </p:cNvSpPr>
            <p:nvPr/>
          </p:nvSpPr>
          <p:spPr bwMode="auto">
            <a:xfrm>
              <a:off x="-8588310" y="2756404"/>
              <a:ext cx="171207" cy="20383"/>
            </a:xfrm>
            <a:custGeom>
              <a:avLst/>
              <a:gdLst>
                <a:gd name="T0" fmla="*/ 63 w 67"/>
                <a:gd name="T1" fmla="*/ 8 h 8"/>
                <a:gd name="T2" fmla="*/ 4 w 67"/>
                <a:gd name="T3" fmla="*/ 8 h 8"/>
                <a:gd name="T4" fmla="*/ 0 w 67"/>
                <a:gd name="T5" fmla="*/ 4 h 8"/>
                <a:gd name="T6" fmla="*/ 4 w 67"/>
                <a:gd name="T7" fmla="*/ 0 h 8"/>
                <a:gd name="T8" fmla="*/ 63 w 67"/>
                <a:gd name="T9" fmla="*/ 0 h 8"/>
                <a:gd name="T10" fmla="*/ 67 w 67"/>
                <a:gd name="T11" fmla="*/ 4 h 8"/>
                <a:gd name="T12" fmla="*/ 63 w 67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8">
                  <a:moveTo>
                    <a:pt x="63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1" y="8"/>
                    <a:pt x="0" y="7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5" y="0"/>
                    <a:pt x="67" y="2"/>
                    <a:pt x="67" y="4"/>
                  </a:cubicBezTo>
                  <a:cubicBezTo>
                    <a:pt x="67" y="7"/>
                    <a:pt x="65" y="8"/>
                    <a:pt x="63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5" name="Freeform 19">
              <a:extLst>
                <a:ext uri="{FF2B5EF4-FFF2-40B4-BE49-F238E27FC236}">
                  <a16:creationId xmlns:a16="http://schemas.microsoft.com/office/drawing/2014/main" id="{7896BD85-61DD-F650-A561-38CC40150EA2}"/>
                </a:ext>
              </a:extLst>
            </p:cNvPr>
            <p:cNvSpPr>
              <a:spLocks/>
            </p:cNvSpPr>
            <p:nvPr/>
          </p:nvSpPr>
          <p:spPr bwMode="auto">
            <a:xfrm>
              <a:off x="-8588310" y="2886847"/>
              <a:ext cx="171207" cy="20383"/>
            </a:xfrm>
            <a:custGeom>
              <a:avLst/>
              <a:gdLst>
                <a:gd name="T0" fmla="*/ 63 w 67"/>
                <a:gd name="T1" fmla="*/ 8 h 8"/>
                <a:gd name="T2" fmla="*/ 4 w 67"/>
                <a:gd name="T3" fmla="*/ 8 h 8"/>
                <a:gd name="T4" fmla="*/ 0 w 67"/>
                <a:gd name="T5" fmla="*/ 4 h 8"/>
                <a:gd name="T6" fmla="*/ 4 w 67"/>
                <a:gd name="T7" fmla="*/ 0 h 8"/>
                <a:gd name="T8" fmla="*/ 63 w 67"/>
                <a:gd name="T9" fmla="*/ 0 h 8"/>
                <a:gd name="T10" fmla="*/ 67 w 67"/>
                <a:gd name="T11" fmla="*/ 4 h 8"/>
                <a:gd name="T12" fmla="*/ 63 w 67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8">
                  <a:moveTo>
                    <a:pt x="63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1" y="8"/>
                    <a:pt x="0" y="6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5" y="0"/>
                    <a:pt x="67" y="2"/>
                    <a:pt x="67" y="4"/>
                  </a:cubicBezTo>
                  <a:cubicBezTo>
                    <a:pt x="67" y="6"/>
                    <a:pt x="65" y="8"/>
                    <a:pt x="63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3" name="Shape4_20200717_154352">
            <a:extLst>
              <a:ext uri="{FF2B5EF4-FFF2-40B4-BE49-F238E27FC236}">
                <a16:creationId xmlns:a16="http://schemas.microsoft.com/office/drawing/2014/main" id="{22462872-20C7-0108-80DE-62CC02C0C585}"/>
              </a:ext>
            </a:extLst>
          </p:cNvPr>
          <p:cNvGrpSpPr>
            <a:grpSpLocks noChangeAspect="1"/>
          </p:cNvGrpSpPr>
          <p:nvPr/>
        </p:nvGrpSpPr>
        <p:grpSpPr>
          <a:xfrm>
            <a:off x="11106675" y="1186342"/>
            <a:ext cx="387254" cy="623682"/>
            <a:chOff x="-6065052" y="2401761"/>
            <a:chExt cx="387254" cy="623682"/>
          </a:xfrm>
          <a:solidFill>
            <a:schemeClr val="accent1"/>
          </a:solidFill>
        </p:grpSpPr>
        <p:sp>
          <p:nvSpPr>
            <p:cNvPr id="282" name="Freeform 20">
              <a:extLst>
                <a:ext uri="{FF2B5EF4-FFF2-40B4-BE49-F238E27FC236}">
                  <a16:creationId xmlns:a16="http://schemas.microsoft.com/office/drawing/2014/main" id="{C05B729F-EF7D-7EE2-5C69-8E72BD621E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065052" y="2401761"/>
              <a:ext cx="387254" cy="623682"/>
            </a:xfrm>
            <a:custGeom>
              <a:avLst/>
              <a:gdLst>
                <a:gd name="T0" fmla="*/ 132 w 154"/>
                <a:gd name="T1" fmla="*/ 248 h 248"/>
                <a:gd name="T2" fmla="*/ 22 w 154"/>
                <a:gd name="T3" fmla="*/ 248 h 248"/>
                <a:gd name="T4" fmla="*/ 0 w 154"/>
                <a:gd name="T5" fmla="*/ 226 h 248"/>
                <a:gd name="T6" fmla="*/ 0 w 154"/>
                <a:gd name="T7" fmla="*/ 22 h 248"/>
                <a:gd name="T8" fmla="*/ 22 w 154"/>
                <a:gd name="T9" fmla="*/ 0 h 248"/>
                <a:gd name="T10" fmla="*/ 132 w 154"/>
                <a:gd name="T11" fmla="*/ 0 h 248"/>
                <a:gd name="T12" fmla="*/ 154 w 154"/>
                <a:gd name="T13" fmla="*/ 22 h 248"/>
                <a:gd name="T14" fmla="*/ 154 w 154"/>
                <a:gd name="T15" fmla="*/ 226 h 248"/>
                <a:gd name="T16" fmla="*/ 132 w 154"/>
                <a:gd name="T17" fmla="*/ 248 h 248"/>
                <a:gd name="T18" fmla="*/ 22 w 154"/>
                <a:gd name="T19" fmla="*/ 8 h 248"/>
                <a:gd name="T20" fmla="*/ 8 w 154"/>
                <a:gd name="T21" fmla="*/ 22 h 248"/>
                <a:gd name="T22" fmla="*/ 8 w 154"/>
                <a:gd name="T23" fmla="*/ 226 h 248"/>
                <a:gd name="T24" fmla="*/ 22 w 154"/>
                <a:gd name="T25" fmla="*/ 240 h 248"/>
                <a:gd name="T26" fmla="*/ 132 w 154"/>
                <a:gd name="T27" fmla="*/ 240 h 248"/>
                <a:gd name="T28" fmla="*/ 146 w 154"/>
                <a:gd name="T29" fmla="*/ 226 h 248"/>
                <a:gd name="T30" fmla="*/ 146 w 154"/>
                <a:gd name="T31" fmla="*/ 22 h 248"/>
                <a:gd name="T32" fmla="*/ 132 w 154"/>
                <a:gd name="T33" fmla="*/ 8 h 248"/>
                <a:gd name="T34" fmla="*/ 22 w 154"/>
                <a:gd name="T35" fmla="*/ 8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4" h="248">
                  <a:moveTo>
                    <a:pt x="132" y="248"/>
                  </a:moveTo>
                  <a:cubicBezTo>
                    <a:pt x="22" y="248"/>
                    <a:pt x="22" y="248"/>
                    <a:pt x="22" y="248"/>
                  </a:cubicBezTo>
                  <a:cubicBezTo>
                    <a:pt x="10" y="248"/>
                    <a:pt x="0" y="238"/>
                    <a:pt x="0" y="226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45" y="0"/>
                    <a:pt x="154" y="10"/>
                    <a:pt x="154" y="22"/>
                  </a:cubicBezTo>
                  <a:cubicBezTo>
                    <a:pt x="154" y="226"/>
                    <a:pt x="154" y="226"/>
                    <a:pt x="154" y="226"/>
                  </a:cubicBezTo>
                  <a:cubicBezTo>
                    <a:pt x="154" y="238"/>
                    <a:pt x="145" y="248"/>
                    <a:pt x="132" y="248"/>
                  </a:cubicBezTo>
                  <a:close/>
                  <a:moveTo>
                    <a:pt x="22" y="8"/>
                  </a:moveTo>
                  <a:cubicBezTo>
                    <a:pt x="14" y="8"/>
                    <a:pt x="8" y="14"/>
                    <a:pt x="8" y="22"/>
                  </a:cubicBezTo>
                  <a:cubicBezTo>
                    <a:pt x="8" y="226"/>
                    <a:pt x="8" y="226"/>
                    <a:pt x="8" y="226"/>
                  </a:cubicBezTo>
                  <a:cubicBezTo>
                    <a:pt x="8" y="233"/>
                    <a:pt x="14" y="240"/>
                    <a:pt x="22" y="240"/>
                  </a:cubicBezTo>
                  <a:cubicBezTo>
                    <a:pt x="132" y="240"/>
                    <a:pt x="132" y="240"/>
                    <a:pt x="132" y="240"/>
                  </a:cubicBezTo>
                  <a:cubicBezTo>
                    <a:pt x="140" y="240"/>
                    <a:pt x="146" y="233"/>
                    <a:pt x="146" y="226"/>
                  </a:cubicBezTo>
                  <a:cubicBezTo>
                    <a:pt x="146" y="22"/>
                    <a:pt x="146" y="22"/>
                    <a:pt x="146" y="22"/>
                  </a:cubicBezTo>
                  <a:cubicBezTo>
                    <a:pt x="146" y="14"/>
                    <a:pt x="140" y="8"/>
                    <a:pt x="132" y="8"/>
                  </a:cubicBezTo>
                  <a:lnTo>
                    <a:pt x="22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3" name="Freeform 21">
              <a:extLst>
                <a:ext uri="{FF2B5EF4-FFF2-40B4-BE49-F238E27FC236}">
                  <a16:creationId xmlns:a16="http://schemas.microsoft.com/office/drawing/2014/main" id="{57FBADDB-DE10-B284-0092-A57BB3D87E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065052" y="2487365"/>
              <a:ext cx="387254" cy="440245"/>
            </a:xfrm>
            <a:custGeom>
              <a:avLst/>
              <a:gdLst>
                <a:gd name="T0" fmla="*/ 150 w 154"/>
                <a:gd name="T1" fmla="*/ 174 h 174"/>
                <a:gd name="T2" fmla="*/ 4 w 154"/>
                <a:gd name="T3" fmla="*/ 174 h 174"/>
                <a:gd name="T4" fmla="*/ 0 w 154"/>
                <a:gd name="T5" fmla="*/ 170 h 174"/>
                <a:gd name="T6" fmla="*/ 0 w 154"/>
                <a:gd name="T7" fmla="*/ 4 h 174"/>
                <a:gd name="T8" fmla="*/ 4 w 154"/>
                <a:gd name="T9" fmla="*/ 0 h 174"/>
                <a:gd name="T10" fmla="*/ 150 w 154"/>
                <a:gd name="T11" fmla="*/ 0 h 174"/>
                <a:gd name="T12" fmla="*/ 154 w 154"/>
                <a:gd name="T13" fmla="*/ 4 h 174"/>
                <a:gd name="T14" fmla="*/ 154 w 154"/>
                <a:gd name="T15" fmla="*/ 170 h 174"/>
                <a:gd name="T16" fmla="*/ 150 w 154"/>
                <a:gd name="T17" fmla="*/ 174 h 174"/>
                <a:gd name="T18" fmla="*/ 8 w 154"/>
                <a:gd name="T19" fmla="*/ 166 h 174"/>
                <a:gd name="T20" fmla="*/ 146 w 154"/>
                <a:gd name="T21" fmla="*/ 166 h 174"/>
                <a:gd name="T22" fmla="*/ 146 w 154"/>
                <a:gd name="T23" fmla="*/ 8 h 174"/>
                <a:gd name="T24" fmla="*/ 8 w 154"/>
                <a:gd name="T25" fmla="*/ 8 h 174"/>
                <a:gd name="T26" fmla="*/ 8 w 154"/>
                <a:gd name="T27" fmla="*/ 166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4" h="174">
                  <a:moveTo>
                    <a:pt x="150" y="174"/>
                  </a:moveTo>
                  <a:cubicBezTo>
                    <a:pt x="4" y="174"/>
                    <a:pt x="4" y="174"/>
                    <a:pt x="4" y="174"/>
                  </a:cubicBezTo>
                  <a:cubicBezTo>
                    <a:pt x="2" y="174"/>
                    <a:pt x="0" y="173"/>
                    <a:pt x="0" y="17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50" y="0"/>
                    <a:pt x="150" y="0"/>
                    <a:pt x="150" y="0"/>
                  </a:cubicBezTo>
                  <a:cubicBezTo>
                    <a:pt x="153" y="0"/>
                    <a:pt x="154" y="2"/>
                    <a:pt x="154" y="4"/>
                  </a:cubicBezTo>
                  <a:cubicBezTo>
                    <a:pt x="154" y="170"/>
                    <a:pt x="154" y="170"/>
                    <a:pt x="154" y="170"/>
                  </a:cubicBezTo>
                  <a:cubicBezTo>
                    <a:pt x="154" y="173"/>
                    <a:pt x="153" y="174"/>
                    <a:pt x="150" y="174"/>
                  </a:cubicBezTo>
                  <a:close/>
                  <a:moveTo>
                    <a:pt x="8" y="166"/>
                  </a:moveTo>
                  <a:cubicBezTo>
                    <a:pt x="146" y="166"/>
                    <a:pt x="146" y="166"/>
                    <a:pt x="146" y="166"/>
                  </a:cubicBezTo>
                  <a:cubicBezTo>
                    <a:pt x="146" y="8"/>
                    <a:pt x="146" y="8"/>
                    <a:pt x="146" y="8"/>
                  </a:cubicBezTo>
                  <a:cubicBezTo>
                    <a:pt x="8" y="8"/>
                    <a:pt x="8" y="8"/>
                    <a:pt x="8" y="8"/>
                  </a:cubicBezTo>
                  <a:lnTo>
                    <a:pt x="8" y="1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4" name="Freeform 22">
              <a:extLst>
                <a:ext uri="{FF2B5EF4-FFF2-40B4-BE49-F238E27FC236}">
                  <a16:creationId xmlns:a16="http://schemas.microsoft.com/office/drawing/2014/main" id="{C6EDD70A-5C95-2443-871B-9A921AF7A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14226" y="2446602"/>
              <a:ext cx="85605" cy="20383"/>
            </a:xfrm>
            <a:custGeom>
              <a:avLst/>
              <a:gdLst>
                <a:gd name="T0" fmla="*/ 31 w 35"/>
                <a:gd name="T1" fmla="*/ 8 h 8"/>
                <a:gd name="T2" fmla="*/ 4 w 35"/>
                <a:gd name="T3" fmla="*/ 8 h 8"/>
                <a:gd name="T4" fmla="*/ 0 w 35"/>
                <a:gd name="T5" fmla="*/ 4 h 8"/>
                <a:gd name="T6" fmla="*/ 4 w 35"/>
                <a:gd name="T7" fmla="*/ 0 h 8"/>
                <a:gd name="T8" fmla="*/ 31 w 35"/>
                <a:gd name="T9" fmla="*/ 0 h 8"/>
                <a:gd name="T10" fmla="*/ 35 w 35"/>
                <a:gd name="T11" fmla="*/ 4 h 8"/>
                <a:gd name="T12" fmla="*/ 31 w 35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8">
                  <a:moveTo>
                    <a:pt x="31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1" y="8"/>
                    <a:pt x="0" y="6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3" y="0"/>
                    <a:pt x="35" y="2"/>
                    <a:pt x="35" y="4"/>
                  </a:cubicBezTo>
                  <a:cubicBezTo>
                    <a:pt x="35" y="6"/>
                    <a:pt x="33" y="8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5" name="Freeform 23">
              <a:extLst>
                <a:ext uri="{FF2B5EF4-FFF2-40B4-BE49-F238E27FC236}">
                  <a16:creationId xmlns:a16="http://schemas.microsoft.com/office/drawing/2014/main" id="{337457D3-3CFF-8A4C-09A4-087059766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85693" y="2956144"/>
              <a:ext cx="28536" cy="24458"/>
            </a:xfrm>
            <a:custGeom>
              <a:avLst/>
              <a:gdLst>
                <a:gd name="T0" fmla="*/ 8 w 12"/>
                <a:gd name="T1" fmla="*/ 9 h 9"/>
                <a:gd name="T2" fmla="*/ 4 w 12"/>
                <a:gd name="T3" fmla="*/ 9 h 9"/>
                <a:gd name="T4" fmla="*/ 0 w 12"/>
                <a:gd name="T5" fmla="*/ 5 h 9"/>
                <a:gd name="T6" fmla="*/ 4 w 12"/>
                <a:gd name="T7" fmla="*/ 0 h 9"/>
                <a:gd name="T8" fmla="*/ 8 w 12"/>
                <a:gd name="T9" fmla="*/ 0 h 9"/>
                <a:gd name="T10" fmla="*/ 12 w 12"/>
                <a:gd name="T11" fmla="*/ 5 h 9"/>
                <a:gd name="T12" fmla="*/ 8 w 12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9">
                  <a:moveTo>
                    <a:pt x="8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1" y="0"/>
                    <a:pt x="12" y="2"/>
                    <a:pt x="12" y="5"/>
                  </a:cubicBezTo>
                  <a:cubicBezTo>
                    <a:pt x="12" y="7"/>
                    <a:pt x="11" y="9"/>
                    <a:pt x="8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6" name="Freeform 24">
              <a:extLst>
                <a:ext uri="{FF2B5EF4-FFF2-40B4-BE49-F238E27FC236}">
                  <a16:creationId xmlns:a16="http://schemas.microsoft.com/office/drawing/2014/main" id="{B736A0B2-9437-3E1C-B7FC-447A1C90EF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999830" y="2585197"/>
              <a:ext cx="256811" cy="256811"/>
            </a:xfrm>
            <a:custGeom>
              <a:avLst/>
              <a:gdLst>
                <a:gd name="T0" fmla="*/ 51 w 102"/>
                <a:gd name="T1" fmla="*/ 102 h 102"/>
                <a:gd name="T2" fmla="*/ 0 w 102"/>
                <a:gd name="T3" fmla="*/ 51 h 102"/>
                <a:gd name="T4" fmla="*/ 51 w 102"/>
                <a:gd name="T5" fmla="*/ 0 h 102"/>
                <a:gd name="T6" fmla="*/ 102 w 102"/>
                <a:gd name="T7" fmla="*/ 51 h 102"/>
                <a:gd name="T8" fmla="*/ 51 w 102"/>
                <a:gd name="T9" fmla="*/ 102 h 102"/>
                <a:gd name="T10" fmla="*/ 51 w 102"/>
                <a:gd name="T11" fmla="*/ 8 h 102"/>
                <a:gd name="T12" fmla="*/ 8 w 102"/>
                <a:gd name="T13" fmla="*/ 51 h 102"/>
                <a:gd name="T14" fmla="*/ 51 w 102"/>
                <a:gd name="T15" fmla="*/ 94 h 102"/>
                <a:gd name="T16" fmla="*/ 94 w 102"/>
                <a:gd name="T17" fmla="*/ 51 h 102"/>
                <a:gd name="T18" fmla="*/ 51 w 102"/>
                <a:gd name="T19" fmla="*/ 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" h="102">
                  <a:moveTo>
                    <a:pt x="51" y="102"/>
                  </a:moveTo>
                  <a:cubicBezTo>
                    <a:pt x="23" y="102"/>
                    <a:pt x="0" y="79"/>
                    <a:pt x="0" y="51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79" y="0"/>
                    <a:pt x="102" y="23"/>
                    <a:pt x="102" y="51"/>
                  </a:cubicBezTo>
                  <a:cubicBezTo>
                    <a:pt x="102" y="79"/>
                    <a:pt x="79" y="102"/>
                    <a:pt x="51" y="102"/>
                  </a:cubicBezTo>
                  <a:close/>
                  <a:moveTo>
                    <a:pt x="51" y="8"/>
                  </a:moveTo>
                  <a:cubicBezTo>
                    <a:pt x="28" y="8"/>
                    <a:pt x="8" y="27"/>
                    <a:pt x="8" y="51"/>
                  </a:cubicBezTo>
                  <a:cubicBezTo>
                    <a:pt x="8" y="74"/>
                    <a:pt x="28" y="94"/>
                    <a:pt x="51" y="94"/>
                  </a:cubicBezTo>
                  <a:cubicBezTo>
                    <a:pt x="75" y="94"/>
                    <a:pt x="94" y="74"/>
                    <a:pt x="94" y="51"/>
                  </a:cubicBezTo>
                  <a:cubicBezTo>
                    <a:pt x="94" y="27"/>
                    <a:pt x="75" y="8"/>
                    <a:pt x="5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7" name="Freeform 25">
              <a:extLst>
                <a:ext uri="{FF2B5EF4-FFF2-40B4-BE49-F238E27FC236}">
                  <a16:creationId xmlns:a16="http://schemas.microsoft.com/office/drawing/2014/main" id="{75775256-482A-2563-3498-129661581DB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34609" y="2670799"/>
              <a:ext cx="138596" cy="93757"/>
            </a:xfrm>
            <a:custGeom>
              <a:avLst/>
              <a:gdLst>
                <a:gd name="T0" fmla="*/ 22 w 56"/>
                <a:gd name="T1" fmla="*/ 38 h 38"/>
                <a:gd name="T2" fmla="*/ 19 w 56"/>
                <a:gd name="T3" fmla="*/ 37 h 38"/>
                <a:gd name="T4" fmla="*/ 2 w 56"/>
                <a:gd name="T5" fmla="*/ 19 h 38"/>
                <a:gd name="T6" fmla="*/ 2 w 56"/>
                <a:gd name="T7" fmla="*/ 14 h 38"/>
                <a:gd name="T8" fmla="*/ 7 w 56"/>
                <a:gd name="T9" fmla="*/ 14 h 38"/>
                <a:gd name="T10" fmla="*/ 22 w 56"/>
                <a:gd name="T11" fmla="*/ 28 h 38"/>
                <a:gd name="T12" fmla="*/ 49 w 56"/>
                <a:gd name="T13" fmla="*/ 2 h 38"/>
                <a:gd name="T14" fmla="*/ 55 w 56"/>
                <a:gd name="T15" fmla="*/ 2 h 38"/>
                <a:gd name="T16" fmla="*/ 55 w 56"/>
                <a:gd name="T17" fmla="*/ 8 h 38"/>
                <a:gd name="T18" fmla="*/ 25 w 56"/>
                <a:gd name="T19" fmla="*/ 37 h 38"/>
                <a:gd name="T20" fmla="*/ 22 w 56"/>
                <a:gd name="T21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" h="38">
                  <a:moveTo>
                    <a:pt x="22" y="38"/>
                  </a:moveTo>
                  <a:cubicBezTo>
                    <a:pt x="21" y="38"/>
                    <a:pt x="20" y="38"/>
                    <a:pt x="19" y="37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0" y="18"/>
                    <a:pt x="0" y="15"/>
                    <a:pt x="2" y="14"/>
                  </a:cubicBezTo>
                  <a:cubicBezTo>
                    <a:pt x="3" y="12"/>
                    <a:pt x="6" y="12"/>
                    <a:pt x="7" y="14"/>
                  </a:cubicBezTo>
                  <a:cubicBezTo>
                    <a:pt x="22" y="28"/>
                    <a:pt x="22" y="28"/>
                    <a:pt x="22" y="28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50" y="0"/>
                    <a:pt x="53" y="0"/>
                    <a:pt x="55" y="2"/>
                  </a:cubicBezTo>
                  <a:cubicBezTo>
                    <a:pt x="56" y="3"/>
                    <a:pt x="56" y="6"/>
                    <a:pt x="55" y="8"/>
                  </a:cubicBezTo>
                  <a:cubicBezTo>
                    <a:pt x="25" y="37"/>
                    <a:pt x="25" y="37"/>
                    <a:pt x="25" y="37"/>
                  </a:cubicBezTo>
                  <a:cubicBezTo>
                    <a:pt x="24" y="38"/>
                    <a:pt x="23" y="38"/>
                    <a:pt x="22" y="3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4" name="Shape5_20200717_154352">
            <a:extLst>
              <a:ext uri="{FF2B5EF4-FFF2-40B4-BE49-F238E27FC236}">
                <a16:creationId xmlns:a16="http://schemas.microsoft.com/office/drawing/2014/main" id="{69D0F111-8968-259D-699C-58A21DAB80B2}"/>
              </a:ext>
            </a:extLst>
          </p:cNvPr>
          <p:cNvGrpSpPr>
            <a:grpSpLocks noChangeAspect="1"/>
          </p:cNvGrpSpPr>
          <p:nvPr/>
        </p:nvGrpSpPr>
        <p:grpSpPr>
          <a:xfrm>
            <a:off x="8474710" y="2575617"/>
            <a:ext cx="631833" cy="627759"/>
            <a:chOff x="-4846222" y="3836635"/>
            <a:chExt cx="631833" cy="627759"/>
          </a:xfrm>
          <a:solidFill>
            <a:schemeClr val="accent1"/>
          </a:solidFill>
        </p:grpSpPr>
        <p:sp>
          <p:nvSpPr>
            <p:cNvPr id="280" name="Freeform 26">
              <a:extLst>
                <a:ext uri="{FF2B5EF4-FFF2-40B4-BE49-F238E27FC236}">
                  <a16:creationId xmlns:a16="http://schemas.microsoft.com/office/drawing/2014/main" id="{81DFA8BC-DB0F-B456-41A3-5D5209BD06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846222" y="3836635"/>
              <a:ext cx="489162" cy="489162"/>
            </a:xfrm>
            <a:custGeom>
              <a:avLst/>
              <a:gdLst>
                <a:gd name="T0" fmla="*/ 97 w 195"/>
                <a:gd name="T1" fmla="*/ 194 h 194"/>
                <a:gd name="T2" fmla="*/ 0 w 195"/>
                <a:gd name="T3" fmla="*/ 97 h 194"/>
                <a:gd name="T4" fmla="*/ 97 w 195"/>
                <a:gd name="T5" fmla="*/ 0 h 194"/>
                <a:gd name="T6" fmla="*/ 195 w 195"/>
                <a:gd name="T7" fmla="*/ 97 h 194"/>
                <a:gd name="T8" fmla="*/ 97 w 195"/>
                <a:gd name="T9" fmla="*/ 194 h 194"/>
                <a:gd name="T10" fmla="*/ 97 w 195"/>
                <a:gd name="T11" fmla="*/ 8 h 194"/>
                <a:gd name="T12" fmla="*/ 8 w 195"/>
                <a:gd name="T13" fmla="*/ 97 h 194"/>
                <a:gd name="T14" fmla="*/ 97 w 195"/>
                <a:gd name="T15" fmla="*/ 186 h 194"/>
                <a:gd name="T16" fmla="*/ 186 w 195"/>
                <a:gd name="T17" fmla="*/ 97 h 194"/>
                <a:gd name="T18" fmla="*/ 97 w 195"/>
                <a:gd name="T19" fmla="*/ 8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5" h="194">
                  <a:moveTo>
                    <a:pt x="97" y="194"/>
                  </a:moveTo>
                  <a:cubicBezTo>
                    <a:pt x="43" y="194"/>
                    <a:pt x="0" y="151"/>
                    <a:pt x="0" y="97"/>
                  </a:cubicBezTo>
                  <a:cubicBezTo>
                    <a:pt x="0" y="43"/>
                    <a:pt x="43" y="0"/>
                    <a:pt x="97" y="0"/>
                  </a:cubicBezTo>
                  <a:cubicBezTo>
                    <a:pt x="151" y="0"/>
                    <a:pt x="195" y="43"/>
                    <a:pt x="195" y="97"/>
                  </a:cubicBezTo>
                  <a:cubicBezTo>
                    <a:pt x="195" y="151"/>
                    <a:pt x="151" y="194"/>
                    <a:pt x="97" y="194"/>
                  </a:cubicBezTo>
                  <a:close/>
                  <a:moveTo>
                    <a:pt x="97" y="8"/>
                  </a:moveTo>
                  <a:cubicBezTo>
                    <a:pt x="48" y="8"/>
                    <a:pt x="8" y="48"/>
                    <a:pt x="8" y="97"/>
                  </a:cubicBezTo>
                  <a:cubicBezTo>
                    <a:pt x="8" y="146"/>
                    <a:pt x="48" y="186"/>
                    <a:pt x="97" y="186"/>
                  </a:cubicBezTo>
                  <a:cubicBezTo>
                    <a:pt x="146" y="186"/>
                    <a:pt x="186" y="146"/>
                    <a:pt x="186" y="97"/>
                  </a:cubicBezTo>
                  <a:cubicBezTo>
                    <a:pt x="186" y="48"/>
                    <a:pt x="146" y="8"/>
                    <a:pt x="97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1" name="Freeform 27">
              <a:extLst>
                <a:ext uri="{FF2B5EF4-FFF2-40B4-BE49-F238E27FC236}">
                  <a16:creationId xmlns:a16="http://schemas.microsoft.com/office/drawing/2014/main" id="{4010261C-19A2-9D85-CCC0-00AD0F6C60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467123" y="4215736"/>
              <a:ext cx="252734" cy="248658"/>
            </a:xfrm>
            <a:custGeom>
              <a:avLst/>
              <a:gdLst>
                <a:gd name="T0" fmla="*/ 81 w 101"/>
                <a:gd name="T1" fmla="*/ 99 h 99"/>
                <a:gd name="T2" fmla="*/ 68 w 101"/>
                <a:gd name="T3" fmla="*/ 94 h 99"/>
                <a:gd name="T4" fmla="*/ 1 w 101"/>
                <a:gd name="T5" fmla="*/ 27 h 99"/>
                <a:gd name="T6" fmla="*/ 1 w 101"/>
                <a:gd name="T7" fmla="*/ 21 h 99"/>
                <a:gd name="T8" fmla="*/ 21 w 101"/>
                <a:gd name="T9" fmla="*/ 1 h 99"/>
                <a:gd name="T10" fmla="*/ 27 w 101"/>
                <a:gd name="T11" fmla="*/ 1 h 99"/>
                <a:gd name="T12" fmla="*/ 94 w 101"/>
                <a:gd name="T13" fmla="*/ 68 h 99"/>
                <a:gd name="T14" fmla="*/ 94 w 101"/>
                <a:gd name="T15" fmla="*/ 94 h 99"/>
                <a:gd name="T16" fmla="*/ 81 w 101"/>
                <a:gd name="T17" fmla="*/ 99 h 99"/>
                <a:gd name="T18" fmla="*/ 74 w 101"/>
                <a:gd name="T19" fmla="*/ 88 h 99"/>
                <a:gd name="T20" fmla="*/ 88 w 101"/>
                <a:gd name="T21" fmla="*/ 88 h 99"/>
                <a:gd name="T22" fmla="*/ 88 w 101"/>
                <a:gd name="T23" fmla="*/ 74 h 99"/>
                <a:gd name="T24" fmla="*/ 24 w 101"/>
                <a:gd name="T25" fmla="*/ 10 h 99"/>
                <a:gd name="T26" fmla="*/ 10 w 101"/>
                <a:gd name="T27" fmla="*/ 24 h 99"/>
                <a:gd name="T28" fmla="*/ 74 w 101"/>
                <a:gd name="T29" fmla="*/ 88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1" h="99">
                  <a:moveTo>
                    <a:pt x="81" y="99"/>
                  </a:moveTo>
                  <a:cubicBezTo>
                    <a:pt x="76" y="99"/>
                    <a:pt x="71" y="97"/>
                    <a:pt x="68" y="94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0" y="25"/>
                    <a:pt x="0" y="23"/>
                    <a:pt x="1" y="2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3" y="0"/>
                    <a:pt x="25" y="0"/>
                    <a:pt x="27" y="1"/>
                  </a:cubicBezTo>
                  <a:cubicBezTo>
                    <a:pt x="94" y="68"/>
                    <a:pt x="94" y="68"/>
                    <a:pt x="94" y="68"/>
                  </a:cubicBezTo>
                  <a:cubicBezTo>
                    <a:pt x="101" y="75"/>
                    <a:pt x="101" y="86"/>
                    <a:pt x="94" y="94"/>
                  </a:cubicBezTo>
                  <a:cubicBezTo>
                    <a:pt x="90" y="97"/>
                    <a:pt x="86" y="99"/>
                    <a:pt x="81" y="99"/>
                  </a:cubicBezTo>
                  <a:close/>
                  <a:moveTo>
                    <a:pt x="74" y="88"/>
                  </a:moveTo>
                  <a:cubicBezTo>
                    <a:pt x="78" y="91"/>
                    <a:pt x="84" y="91"/>
                    <a:pt x="88" y="88"/>
                  </a:cubicBezTo>
                  <a:cubicBezTo>
                    <a:pt x="92" y="84"/>
                    <a:pt x="92" y="78"/>
                    <a:pt x="88" y="74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10" y="24"/>
                    <a:pt x="10" y="24"/>
                    <a:pt x="10" y="24"/>
                  </a:cubicBezTo>
                  <a:lnTo>
                    <a:pt x="74" y="8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5" name="Shape6_20200717_154352">
            <a:extLst>
              <a:ext uri="{FF2B5EF4-FFF2-40B4-BE49-F238E27FC236}">
                <a16:creationId xmlns:a16="http://schemas.microsoft.com/office/drawing/2014/main" id="{715813D8-3674-C289-AD53-98C1B18500B6}"/>
              </a:ext>
            </a:extLst>
          </p:cNvPr>
          <p:cNvGrpSpPr>
            <a:grpSpLocks noChangeAspect="1"/>
          </p:cNvGrpSpPr>
          <p:nvPr/>
        </p:nvGrpSpPr>
        <p:grpSpPr>
          <a:xfrm>
            <a:off x="7006149" y="1214877"/>
            <a:ext cx="790812" cy="623683"/>
            <a:chOff x="-2253665" y="962811"/>
            <a:chExt cx="790812" cy="623683"/>
          </a:xfrm>
          <a:solidFill>
            <a:schemeClr val="accent1"/>
          </a:solidFill>
        </p:grpSpPr>
        <p:sp>
          <p:nvSpPr>
            <p:cNvPr id="273" name="Freeform 28">
              <a:extLst>
                <a:ext uri="{FF2B5EF4-FFF2-40B4-BE49-F238E27FC236}">
                  <a16:creationId xmlns:a16="http://schemas.microsoft.com/office/drawing/2014/main" id="{2ECBD53B-4A47-31DF-04BF-F04FB66991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253665" y="962811"/>
              <a:ext cx="790812" cy="538078"/>
            </a:xfrm>
            <a:custGeom>
              <a:avLst/>
              <a:gdLst>
                <a:gd name="T0" fmla="*/ 289 w 315"/>
                <a:gd name="T1" fmla="*/ 213 h 213"/>
                <a:gd name="T2" fmla="*/ 25 w 315"/>
                <a:gd name="T3" fmla="*/ 213 h 213"/>
                <a:gd name="T4" fmla="*/ 0 w 315"/>
                <a:gd name="T5" fmla="*/ 187 h 213"/>
                <a:gd name="T6" fmla="*/ 0 w 315"/>
                <a:gd name="T7" fmla="*/ 26 h 213"/>
                <a:gd name="T8" fmla="*/ 25 w 315"/>
                <a:gd name="T9" fmla="*/ 0 h 213"/>
                <a:gd name="T10" fmla="*/ 289 w 315"/>
                <a:gd name="T11" fmla="*/ 0 h 213"/>
                <a:gd name="T12" fmla="*/ 315 w 315"/>
                <a:gd name="T13" fmla="*/ 26 h 213"/>
                <a:gd name="T14" fmla="*/ 315 w 315"/>
                <a:gd name="T15" fmla="*/ 187 h 213"/>
                <a:gd name="T16" fmla="*/ 289 w 315"/>
                <a:gd name="T17" fmla="*/ 213 h 213"/>
                <a:gd name="T18" fmla="*/ 25 w 315"/>
                <a:gd name="T19" fmla="*/ 8 h 213"/>
                <a:gd name="T20" fmla="*/ 8 w 315"/>
                <a:gd name="T21" fmla="*/ 26 h 213"/>
                <a:gd name="T22" fmla="*/ 8 w 315"/>
                <a:gd name="T23" fmla="*/ 187 h 213"/>
                <a:gd name="T24" fmla="*/ 25 w 315"/>
                <a:gd name="T25" fmla="*/ 205 h 213"/>
                <a:gd name="T26" fmla="*/ 289 w 315"/>
                <a:gd name="T27" fmla="*/ 205 h 213"/>
                <a:gd name="T28" fmla="*/ 306 w 315"/>
                <a:gd name="T29" fmla="*/ 187 h 213"/>
                <a:gd name="T30" fmla="*/ 306 w 315"/>
                <a:gd name="T31" fmla="*/ 26 h 213"/>
                <a:gd name="T32" fmla="*/ 289 w 315"/>
                <a:gd name="T33" fmla="*/ 8 h 213"/>
                <a:gd name="T34" fmla="*/ 25 w 315"/>
                <a:gd name="T35" fmla="*/ 8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15" h="213">
                  <a:moveTo>
                    <a:pt x="289" y="213"/>
                  </a:moveTo>
                  <a:cubicBezTo>
                    <a:pt x="25" y="213"/>
                    <a:pt x="25" y="213"/>
                    <a:pt x="25" y="213"/>
                  </a:cubicBezTo>
                  <a:cubicBezTo>
                    <a:pt x="11" y="213"/>
                    <a:pt x="0" y="202"/>
                    <a:pt x="0" y="18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1"/>
                    <a:pt x="11" y="0"/>
                    <a:pt x="25" y="0"/>
                  </a:cubicBezTo>
                  <a:cubicBezTo>
                    <a:pt x="289" y="0"/>
                    <a:pt x="289" y="0"/>
                    <a:pt x="289" y="0"/>
                  </a:cubicBezTo>
                  <a:cubicBezTo>
                    <a:pt x="303" y="0"/>
                    <a:pt x="315" y="11"/>
                    <a:pt x="315" y="26"/>
                  </a:cubicBezTo>
                  <a:cubicBezTo>
                    <a:pt x="315" y="187"/>
                    <a:pt x="315" y="187"/>
                    <a:pt x="315" y="187"/>
                  </a:cubicBezTo>
                  <a:cubicBezTo>
                    <a:pt x="315" y="202"/>
                    <a:pt x="303" y="213"/>
                    <a:pt x="289" y="213"/>
                  </a:cubicBezTo>
                  <a:close/>
                  <a:moveTo>
                    <a:pt x="25" y="8"/>
                  </a:moveTo>
                  <a:cubicBezTo>
                    <a:pt x="16" y="8"/>
                    <a:pt x="8" y="16"/>
                    <a:pt x="8" y="26"/>
                  </a:cubicBezTo>
                  <a:cubicBezTo>
                    <a:pt x="8" y="187"/>
                    <a:pt x="8" y="187"/>
                    <a:pt x="8" y="187"/>
                  </a:cubicBezTo>
                  <a:cubicBezTo>
                    <a:pt x="8" y="197"/>
                    <a:pt x="16" y="205"/>
                    <a:pt x="25" y="205"/>
                  </a:cubicBezTo>
                  <a:cubicBezTo>
                    <a:pt x="289" y="205"/>
                    <a:pt x="289" y="205"/>
                    <a:pt x="289" y="205"/>
                  </a:cubicBezTo>
                  <a:cubicBezTo>
                    <a:pt x="299" y="205"/>
                    <a:pt x="306" y="197"/>
                    <a:pt x="306" y="187"/>
                  </a:cubicBezTo>
                  <a:cubicBezTo>
                    <a:pt x="306" y="26"/>
                    <a:pt x="306" y="26"/>
                    <a:pt x="306" y="26"/>
                  </a:cubicBezTo>
                  <a:cubicBezTo>
                    <a:pt x="306" y="16"/>
                    <a:pt x="299" y="8"/>
                    <a:pt x="289" y="8"/>
                  </a:cubicBezTo>
                  <a:lnTo>
                    <a:pt x="25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4" name="Freeform 29">
              <a:extLst>
                <a:ext uri="{FF2B5EF4-FFF2-40B4-BE49-F238E27FC236}">
                  <a16:creationId xmlns:a16="http://schemas.microsoft.com/office/drawing/2014/main" id="{F8347CA6-282D-88A5-6BC3-32DDA1510E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253665" y="1407132"/>
              <a:ext cx="790812" cy="93757"/>
            </a:xfrm>
            <a:custGeom>
              <a:avLst/>
              <a:gdLst>
                <a:gd name="T0" fmla="*/ 290 w 315"/>
                <a:gd name="T1" fmla="*/ 37 h 37"/>
                <a:gd name="T2" fmla="*/ 25 w 315"/>
                <a:gd name="T3" fmla="*/ 37 h 37"/>
                <a:gd name="T4" fmla="*/ 0 w 315"/>
                <a:gd name="T5" fmla="*/ 12 h 37"/>
                <a:gd name="T6" fmla="*/ 0 w 315"/>
                <a:gd name="T7" fmla="*/ 4 h 37"/>
                <a:gd name="T8" fmla="*/ 4 w 315"/>
                <a:gd name="T9" fmla="*/ 0 h 37"/>
                <a:gd name="T10" fmla="*/ 311 w 315"/>
                <a:gd name="T11" fmla="*/ 0 h 37"/>
                <a:gd name="T12" fmla="*/ 315 w 315"/>
                <a:gd name="T13" fmla="*/ 4 h 37"/>
                <a:gd name="T14" fmla="*/ 315 w 315"/>
                <a:gd name="T15" fmla="*/ 12 h 37"/>
                <a:gd name="T16" fmla="*/ 290 w 315"/>
                <a:gd name="T17" fmla="*/ 37 h 37"/>
                <a:gd name="T18" fmla="*/ 8 w 315"/>
                <a:gd name="T19" fmla="*/ 8 h 37"/>
                <a:gd name="T20" fmla="*/ 8 w 315"/>
                <a:gd name="T21" fmla="*/ 12 h 37"/>
                <a:gd name="T22" fmla="*/ 25 w 315"/>
                <a:gd name="T23" fmla="*/ 29 h 37"/>
                <a:gd name="T24" fmla="*/ 290 w 315"/>
                <a:gd name="T25" fmla="*/ 29 h 37"/>
                <a:gd name="T26" fmla="*/ 306 w 315"/>
                <a:gd name="T27" fmla="*/ 12 h 37"/>
                <a:gd name="T28" fmla="*/ 306 w 315"/>
                <a:gd name="T29" fmla="*/ 8 h 37"/>
                <a:gd name="T30" fmla="*/ 8 w 315"/>
                <a:gd name="T31" fmla="*/ 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5" h="37">
                  <a:moveTo>
                    <a:pt x="290" y="37"/>
                  </a:moveTo>
                  <a:cubicBezTo>
                    <a:pt x="25" y="37"/>
                    <a:pt x="25" y="37"/>
                    <a:pt x="25" y="37"/>
                  </a:cubicBezTo>
                  <a:cubicBezTo>
                    <a:pt x="11" y="37"/>
                    <a:pt x="0" y="26"/>
                    <a:pt x="0" y="1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311" y="0"/>
                    <a:pt x="311" y="0"/>
                    <a:pt x="311" y="0"/>
                  </a:cubicBezTo>
                  <a:cubicBezTo>
                    <a:pt x="313" y="0"/>
                    <a:pt x="315" y="2"/>
                    <a:pt x="315" y="4"/>
                  </a:cubicBezTo>
                  <a:cubicBezTo>
                    <a:pt x="315" y="12"/>
                    <a:pt x="315" y="12"/>
                    <a:pt x="315" y="12"/>
                  </a:cubicBezTo>
                  <a:cubicBezTo>
                    <a:pt x="315" y="26"/>
                    <a:pt x="303" y="37"/>
                    <a:pt x="290" y="37"/>
                  </a:cubicBezTo>
                  <a:close/>
                  <a:moveTo>
                    <a:pt x="8" y="8"/>
                  </a:moveTo>
                  <a:cubicBezTo>
                    <a:pt x="8" y="12"/>
                    <a:pt x="8" y="12"/>
                    <a:pt x="8" y="12"/>
                  </a:cubicBezTo>
                  <a:cubicBezTo>
                    <a:pt x="8" y="21"/>
                    <a:pt x="15" y="29"/>
                    <a:pt x="25" y="29"/>
                  </a:cubicBezTo>
                  <a:cubicBezTo>
                    <a:pt x="290" y="29"/>
                    <a:pt x="290" y="29"/>
                    <a:pt x="290" y="29"/>
                  </a:cubicBezTo>
                  <a:cubicBezTo>
                    <a:pt x="299" y="29"/>
                    <a:pt x="306" y="21"/>
                    <a:pt x="306" y="12"/>
                  </a:cubicBezTo>
                  <a:cubicBezTo>
                    <a:pt x="306" y="8"/>
                    <a:pt x="306" y="8"/>
                    <a:pt x="306" y="8"/>
                  </a:cubicBezTo>
                  <a:lnTo>
                    <a:pt x="8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5" name="Freeform 30">
              <a:extLst>
                <a:ext uri="{FF2B5EF4-FFF2-40B4-BE49-F238E27FC236}">
                  <a16:creationId xmlns:a16="http://schemas.microsoft.com/office/drawing/2014/main" id="{0EF39ED5-5447-2A20-70CB-760B826E75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11251" y="1480506"/>
              <a:ext cx="105985" cy="105985"/>
            </a:xfrm>
            <a:custGeom>
              <a:avLst/>
              <a:gdLst>
                <a:gd name="T0" fmla="*/ 38 w 42"/>
                <a:gd name="T1" fmla="*/ 43 h 43"/>
                <a:gd name="T2" fmla="*/ 5 w 42"/>
                <a:gd name="T3" fmla="*/ 43 h 43"/>
                <a:gd name="T4" fmla="*/ 0 w 42"/>
                <a:gd name="T5" fmla="*/ 39 h 43"/>
                <a:gd name="T6" fmla="*/ 0 w 42"/>
                <a:gd name="T7" fmla="*/ 4 h 43"/>
                <a:gd name="T8" fmla="*/ 5 w 42"/>
                <a:gd name="T9" fmla="*/ 0 h 43"/>
                <a:gd name="T10" fmla="*/ 38 w 42"/>
                <a:gd name="T11" fmla="*/ 0 h 43"/>
                <a:gd name="T12" fmla="*/ 42 w 42"/>
                <a:gd name="T13" fmla="*/ 4 h 43"/>
                <a:gd name="T14" fmla="*/ 42 w 42"/>
                <a:gd name="T15" fmla="*/ 39 h 43"/>
                <a:gd name="T16" fmla="*/ 38 w 42"/>
                <a:gd name="T17" fmla="*/ 43 h 43"/>
                <a:gd name="T18" fmla="*/ 9 w 42"/>
                <a:gd name="T19" fmla="*/ 35 h 43"/>
                <a:gd name="T20" fmla="*/ 34 w 42"/>
                <a:gd name="T21" fmla="*/ 35 h 43"/>
                <a:gd name="T22" fmla="*/ 34 w 42"/>
                <a:gd name="T23" fmla="*/ 8 h 43"/>
                <a:gd name="T24" fmla="*/ 9 w 42"/>
                <a:gd name="T25" fmla="*/ 8 h 43"/>
                <a:gd name="T26" fmla="*/ 9 w 42"/>
                <a:gd name="T27" fmla="*/ 3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2" h="43">
                  <a:moveTo>
                    <a:pt x="38" y="43"/>
                  </a:moveTo>
                  <a:cubicBezTo>
                    <a:pt x="5" y="43"/>
                    <a:pt x="5" y="43"/>
                    <a:pt x="5" y="43"/>
                  </a:cubicBezTo>
                  <a:cubicBezTo>
                    <a:pt x="2" y="43"/>
                    <a:pt x="0" y="42"/>
                    <a:pt x="0" y="3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40" y="0"/>
                    <a:pt x="42" y="2"/>
                    <a:pt x="42" y="4"/>
                  </a:cubicBezTo>
                  <a:cubicBezTo>
                    <a:pt x="42" y="39"/>
                    <a:pt x="42" y="39"/>
                    <a:pt x="42" y="39"/>
                  </a:cubicBezTo>
                  <a:cubicBezTo>
                    <a:pt x="42" y="42"/>
                    <a:pt x="40" y="43"/>
                    <a:pt x="38" y="43"/>
                  </a:cubicBezTo>
                  <a:close/>
                  <a:moveTo>
                    <a:pt x="9" y="35"/>
                  </a:moveTo>
                  <a:cubicBezTo>
                    <a:pt x="34" y="35"/>
                    <a:pt x="34" y="35"/>
                    <a:pt x="34" y="35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9" y="8"/>
                    <a:pt x="9" y="8"/>
                    <a:pt x="9" y="8"/>
                  </a:cubicBezTo>
                  <a:lnTo>
                    <a:pt x="9" y="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6" name="Freeform 31">
              <a:extLst>
                <a:ext uri="{FF2B5EF4-FFF2-40B4-BE49-F238E27FC236}">
                  <a16:creationId xmlns:a16="http://schemas.microsoft.com/office/drawing/2014/main" id="{40EA0829-A2FD-5615-83F5-B793C3993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88703" y="1566111"/>
              <a:ext cx="260886" cy="20383"/>
            </a:xfrm>
            <a:custGeom>
              <a:avLst/>
              <a:gdLst>
                <a:gd name="T0" fmla="*/ 100 w 104"/>
                <a:gd name="T1" fmla="*/ 8 h 8"/>
                <a:gd name="T2" fmla="*/ 4 w 104"/>
                <a:gd name="T3" fmla="*/ 8 h 8"/>
                <a:gd name="T4" fmla="*/ 0 w 104"/>
                <a:gd name="T5" fmla="*/ 4 h 8"/>
                <a:gd name="T6" fmla="*/ 4 w 104"/>
                <a:gd name="T7" fmla="*/ 0 h 8"/>
                <a:gd name="T8" fmla="*/ 100 w 104"/>
                <a:gd name="T9" fmla="*/ 0 h 8"/>
                <a:gd name="T10" fmla="*/ 104 w 104"/>
                <a:gd name="T11" fmla="*/ 4 h 8"/>
                <a:gd name="T12" fmla="*/ 100 w 10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4" h="8">
                  <a:moveTo>
                    <a:pt x="100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3" y="0"/>
                    <a:pt x="104" y="2"/>
                    <a:pt x="104" y="4"/>
                  </a:cubicBezTo>
                  <a:cubicBezTo>
                    <a:pt x="104" y="7"/>
                    <a:pt x="103" y="8"/>
                    <a:pt x="10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7" name="Freeform 32">
              <a:extLst>
                <a:ext uri="{FF2B5EF4-FFF2-40B4-BE49-F238E27FC236}">
                  <a16:creationId xmlns:a16="http://schemas.microsoft.com/office/drawing/2014/main" id="{F996EB38-2E0F-92CA-7C9E-1AE083C0AE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029467" y="1028033"/>
              <a:ext cx="269039" cy="264964"/>
            </a:xfrm>
            <a:custGeom>
              <a:avLst/>
              <a:gdLst>
                <a:gd name="T0" fmla="*/ 53 w 106"/>
                <a:gd name="T1" fmla="*/ 106 h 106"/>
                <a:gd name="T2" fmla="*/ 0 w 106"/>
                <a:gd name="T3" fmla="*/ 53 h 106"/>
                <a:gd name="T4" fmla="*/ 53 w 106"/>
                <a:gd name="T5" fmla="*/ 0 h 106"/>
                <a:gd name="T6" fmla="*/ 106 w 106"/>
                <a:gd name="T7" fmla="*/ 53 h 106"/>
                <a:gd name="T8" fmla="*/ 53 w 106"/>
                <a:gd name="T9" fmla="*/ 106 h 106"/>
                <a:gd name="T10" fmla="*/ 53 w 106"/>
                <a:gd name="T11" fmla="*/ 8 h 106"/>
                <a:gd name="T12" fmla="*/ 8 w 106"/>
                <a:gd name="T13" fmla="*/ 53 h 106"/>
                <a:gd name="T14" fmla="*/ 53 w 106"/>
                <a:gd name="T15" fmla="*/ 97 h 106"/>
                <a:gd name="T16" fmla="*/ 97 w 106"/>
                <a:gd name="T17" fmla="*/ 53 h 106"/>
                <a:gd name="T18" fmla="*/ 53 w 106"/>
                <a:gd name="T19" fmla="*/ 8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6" h="106">
                  <a:moveTo>
                    <a:pt x="53" y="106"/>
                  </a:moveTo>
                  <a:cubicBezTo>
                    <a:pt x="24" y="106"/>
                    <a:pt x="0" y="82"/>
                    <a:pt x="0" y="53"/>
                  </a:cubicBezTo>
                  <a:cubicBezTo>
                    <a:pt x="0" y="24"/>
                    <a:pt x="24" y="0"/>
                    <a:pt x="53" y="0"/>
                  </a:cubicBezTo>
                  <a:cubicBezTo>
                    <a:pt x="82" y="0"/>
                    <a:pt x="106" y="24"/>
                    <a:pt x="106" y="53"/>
                  </a:cubicBezTo>
                  <a:cubicBezTo>
                    <a:pt x="106" y="82"/>
                    <a:pt x="82" y="106"/>
                    <a:pt x="53" y="106"/>
                  </a:cubicBezTo>
                  <a:close/>
                  <a:moveTo>
                    <a:pt x="53" y="8"/>
                  </a:moveTo>
                  <a:cubicBezTo>
                    <a:pt x="28" y="8"/>
                    <a:pt x="8" y="28"/>
                    <a:pt x="8" y="53"/>
                  </a:cubicBezTo>
                  <a:cubicBezTo>
                    <a:pt x="8" y="77"/>
                    <a:pt x="28" y="97"/>
                    <a:pt x="53" y="97"/>
                  </a:cubicBezTo>
                  <a:cubicBezTo>
                    <a:pt x="78" y="97"/>
                    <a:pt x="97" y="77"/>
                    <a:pt x="97" y="53"/>
                  </a:cubicBezTo>
                  <a:cubicBezTo>
                    <a:pt x="97" y="28"/>
                    <a:pt x="78" y="8"/>
                    <a:pt x="53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8" name="Freeform 33">
              <a:extLst>
                <a:ext uri="{FF2B5EF4-FFF2-40B4-BE49-F238E27FC236}">
                  <a16:creationId xmlns:a16="http://schemas.microsoft.com/office/drawing/2014/main" id="{CC1A59FB-EE37-FD70-363E-F4C5C171E9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833802" y="1219620"/>
              <a:ext cx="146749" cy="146748"/>
            </a:xfrm>
            <a:custGeom>
              <a:avLst/>
              <a:gdLst>
                <a:gd name="T0" fmla="*/ 45 w 58"/>
                <a:gd name="T1" fmla="*/ 58 h 58"/>
                <a:gd name="T2" fmla="*/ 36 w 58"/>
                <a:gd name="T3" fmla="*/ 54 h 58"/>
                <a:gd name="T4" fmla="*/ 36 w 58"/>
                <a:gd name="T5" fmla="*/ 54 h 58"/>
                <a:gd name="T6" fmla="*/ 2 w 58"/>
                <a:gd name="T7" fmla="*/ 20 h 58"/>
                <a:gd name="T8" fmla="*/ 2 w 58"/>
                <a:gd name="T9" fmla="*/ 14 h 58"/>
                <a:gd name="T10" fmla="*/ 14 w 58"/>
                <a:gd name="T11" fmla="*/ 2 h 58"/>
                <a:gd name="T12" fmla="*/ 20 w 58"/>
                <a:gd name="T13" fmla="*/ 2 h 58"/>
                <a:gd name="T14" fmla="*/ 54 w 58"/>
                <a:gd name="T15" fmla="*/ 36 h 58"/>
                <a:gd name="T16" fmla="*/ 58 w 58"/>
                <a:gd name="T17" fmla="*/ 44 h 58"/>
                <a:gd name="T18" fmla="*/ 54 w 58"/>
                <a:gd name="T19" fmla="*/ 53 h 58"/>
                <a:gd name="T20" fmla="*/ 53 w 58"/>
                <a:gd name="T21" fmla="*/ 54 h 58"/>
                <a:gd name="T22" fmla="*/ 45 w 58"/>
                <a:gd name="T23" fmla="*/ 58 h 58"/>
                <a:gd name="T24" fmla="*/ 41 w 58"/>
                <a:gd name="T25" fmla="*/ 48 h 58"/>
                <a:gd name="T26" fmla="*/ 48 w 58"/>
                <a:gd name="T27" fmla="*/ 48 h 58"/>
                <a:gd name="T28" fmla="*/ 48 w 58"/>
                <a:gd name="T29" fmla="*/ 48 h 58"/>
                <a:gd name="T30" fmla="*/ 49 w 58"/>
                <a:gd name="T31" fmla="*/ 44 h 58"/>
                <a:gd name="T32" fmla="*/ 48 w 58"/>
                <a:gd name="T33" fmla="*/ 41 h 58"/>
                <a:gd name="T34" fmla="*/ 17 w 58"/>
                <a:gd name="T35" fmla="*/ 10 h 58"/>
                <a:gd name="T36" fmla="*/ 10 w 58"/>
                <a:gd name="T37" fmla="*/ 17 h 58"/>
                <a:gd name="T38" fmla="*/ 41 w 58"/>
                <a:gd name="T39" fmla="*/ 4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8" h="58">
                  <a:moveTo>
                    <a:pt x="45" y="58"/>
                  </a:moveTo>
                  <a:cubicBezTo>
                    <a:pt x="41" y="58"/>
                    <a:pt x="38" y="56"/>
                    <a:pt x="36" y="54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0" y="18"/>
                    <a:pt x="0" y="16"/>
                    <a:pt x="2" y="14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6" y="0"/>
                    <a:pt x="18" y="0"/>
                    <a:pt x="20" y="2"/>
                  </a:cubicBezTo>
                  <a:cubicBezTo>
                    <a:pt x="54" y="36"/>
                    <a:pt x="54" y="36"/>
                    <a:pt x="54" y="36"/>
                  </a:cubicBezTo>
                  <a:cubicBezTo>
                    <a:pt x="56" y="38"/>
                    <a:pt x="58" y="41"/>
                    <a:pt x="58" y="44"/>
                  </a:cubicBezTo>
                  <a:cubicBezTo>
                    <a:pt x="58" y="48"/>
                    <a:pt x="56" y="51"/>
                    <a:pt x="54" y="53"/>
                  </a:cubicBezTo>
                  <a:cubicBezTo>
                    <a:pt x="53" y="54"/>
                    <a:pt x="53" y="54"/>
                    <a:pt x="53" y="54"/>
                  </a:cubicBezTo>
                  <a:cubicBezTo>
                    <a:pt x="51" y="56"/>
                    <a:pt x="48" y="58"/>
                    <a:pt x="45" y="58"/>
                  </a:cubicBezTo>
                  <a:close/>
                  <a:moveTo>
                    <a:pt x="41" y="48"/>
                  </a:moveTo>
                  <a:cubicBezTo>
                    <a:pt x="43" y="50"/>
                    <a:pt x="46" y="50"/>
                    <a:pt x="48" y="48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49" y="47"/>
                    <a:pt x="49" y="46"/>
                    <a:pt x="49" y="44"/>
                  </a:cubicBezTo>
                  <a:cubicBezTo>
                    <a:pt x="49" y="43"/>
                    <a:pt x="49" y="42"/>
                    <a:pt x="48" y="41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0" y="17"/>
                    <a:pt x="10" y="17"/>
                    <a:pt x="10" y="17"/>
                  </a:cubicBezTo>
                  <a:lnTo>
                    <a:pt x="41" y="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9" name="Freeform 34">
              <a:extLst>
                <a:ext uri="{FF2B5EF4-FFF2-40B4-BE49-F238E27FC236}">
                  <a16:creationId xmlns:a16="http://schemas.microsoft.com/office/drawing/2014/main" id="{EC6A779B-E50D-A85D-C144-F55B9B03DB6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56092" y="1117713"/>
              <a:ext cx="126368" cy="89680"/>
            </a:xfrm>
            <a:custGeom>
              <a:avLst/>
              <a:gdLst>
                <a:gd name="T0" fmla="*/ 19 w 50"/>
                <a:gd name="T1" fmla="*/ 35 h 35"/>
                <a:gd name="T2" fmla="*/ 16 w 50"/>
                <a:gd name="T3" fmla="*/ 34 h 35"/>
                <a:gd name="T4" fmla="*/ 2 w 50"/>
                <a:gd name="T5" fmla="*/ 20 h 35"/>
                <a:gd name="T6" fmla="*/ 2 w 50"/>
                <a:gd name="T7" fmla="*/ 14 h 35"/>
                <a:gd name="T8" fmla="*/ 8 w 50"/>
                <a:gd name="T9" fmla="*/ 14 h 35"/>
                <a:gd name="T10" fmla="*/ 19 w 50"/>
                <a:gd name="T11" fmla="*/ 25 h 35"/>
                <a:gd name="T12" fmla="*/ 42 w 50"/>
                <a:gd name="T13" fmla="*/ 1 h 35"/>
                <a:gd name="T14" fmla="*/ 48 w 50"/>
                <a:gd name="T15" fmla="*/ 1 h 35"/>
                <a:gd name="T16" fmla="*/ 48 w 50"/>
                <a:gd name="T17" fmla="*/ 7 h 35"/>
                <a:gd name="T18" fmla="*/ 21 w 50"/>
                <a:gd name="T19" fmla="*/ 34 h 35"/>
                <a:gd name="T20" fmla="*/ 19 w 50"/>
                <a:gd name="T2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" h="35">
                  <a:moveTo>
                    <a:pt x="19" y="35"/>
                  </a:moveTo>
                  <a:cubicBezTo>
                    <a:pt x="17" y="35"/>
                    <a:pt x="16" y="34"/>
                    <a:pt x="16" y="34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0" y="18"/>
                    <a:pt x="0" y="16"/>
                    <a:pt x="2" y="14"/>
                  </a:cubicBezTo>
                  <a:cubicBezTo>
                    <a:pt x="4" y="13"/>
                    <a:pt x="6" y="13"/>
                    <a:pt x="8" y="14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4" y="0"/>
                    <a:pt x="46" y="0"/>
                    <a:pt x="48" y="1"/>
                  </a:cubicBezTo>
                  <a:cubicBezTo>
                    <a:pt x="50" y="3"/>
                    <a:pt x="50" y="5"/>
                    <a:pt x="48" y="7"/>
                  </a:cubicBezTo>
                  <a:cubicBezTo>
                    <a:pt x="21" y="34"/>
                    <a:pt x="21" y="34"/>
                    <a:pt x="21" y="34"/>
                  </a:cubicBezTo>
                  <a:cubicBezTo>
                    <a:pt x="21" y="34"/>
                    <a:pt x="20" y="35"/>
                    <a:pt x="19" y="3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6" name="Shape7_20200717_154352">
            <a:extLst>
              <a:ext uri="{FF2B5EF4-FFF2-40B4-BE49-F238E27FC236}">
                <a16:creationId xmlns:a16="http://schemas.microsoft.com/office/drawing/2014/main" id="{55CC8A3A-E9B7-48D4-A347-05A31F3EAAAA}"/>
              </a:ext>
            </a:extLst>
          </p:cNvPr>
          <p:cNvGrpSpPr>
            <a:grpSpLocks noChangeAspect="1"/>
          </p:cNvGrpSpPr>
          <p:nvPr/>
        </p:nvGrpSpPr>
        <p:grpSpPr>
          <a:xfrm>
            <a:off x="5851000" y="1210800"/>
            <a:ext cx="586997" cy="635912"/>
            <a:chOff x="-3488800" y="958734"/>
            <a:chExt cx="586997" cy="635912"/>
          </a:xfrm>
          <a:solidFill>
            <a:schemeClr val="accent1"/>
          </a:solidFill>
        </p:grpSpPr>
        <p:sp>
          <p:nvSpPr>
            <p:cNvPr id="264" name="Freeform 35">
              <a:extLst>
                <a:ext uri="{FF2B5EF4-FFF2-40B4-BE49-F238E27FC236}">
                  <a16:creationId xmlns:a16="http://schemas.microsoft.com/office/drawing/2014/main" id="{A1A0792A-C61E-7FD4-1484-A3D868110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350204" y="1101407"/>
              <a:ext cx="309802" cy="493239"/>
            </a:xfrm>
            <a:custGeom>
              <a:avLst/>
              <a:gdLst>
                <a:gd name="T0" fmla="*/ 61 w 123"/>
                <a:gd name="T1" fmla="*/ 196 h 196"/>
                <a:gd name="T2" fmla="*/ 35 w 123"/>
                <a:gd name="T3" fmla="*/ 171 h 196"/>
                <a:gd name="T4" fmla="*/ 35 w 123"/>
                <a:gd name="T5" fmla="*/ 168 h 196"/>
                <a:gd name="T6" fmla="*/ 12 w 123"/>
                <a:gd name="T7" fmla="*/ 96 h 196"/>
                <a:gd name="T8" fmla="*/ 2 w 123"/>
                <a:gd name="T9" fmla="*/ 56 h 196"/>
                <a:gd name="T10" fmla="*/ 56 w 123"/>
                <a:gd name="T11" fmla="*/ 2 h 196"/>
                <a:gd name="T12" fmla="*/ 103 w 123"/>
                <a:gd name="T13" fmla="*/ 17 h 196"/>
                <a:gd name="T14" fmla="*/ 123 w 123"/>
                <a:gd name="T15" fmla="*/ 62 h 196"/>
                <a:gd name="T16" fmla="*/ 112 w 123"/>
                <a:gd name="T17" fmla="*/ 97 h 196"/>
                <a:gd name="T18" fmla="*/ 88 w 123"/>
                <a:gd name="T19" fmla="*/ 171 h 196"/>
                <a:gd name="T20" fmla="*/ 61 w 123"/>
                <a:gd name="T21" fmla="*/ 196 h 196"/>
                <a:gd name="T22" fmla="*/ 63 w 123"/>
                <a:gd name="T23" fmla="*/ 10 h 196"/>
                <a:gd name="T24" fmla="*/ 56 w 123"/>
                <a:gd name="T25" fmla="*/ 10 h 196"/>
                <a:gd name="T26" fmla="*/ 10 w 123"/>
                <a:gd name="T27" fmla="*/ 56 h 196"/>
                <a:gd name="T28" fmla="*/ 19 w 123"/>
                <a:gd name="T29" fmla="*/ 92 h 196"/>
                <a:gd name="T30" fmla="*/ 43 w 123"/>
                <a:gd name="T31" fmla="*/ 168 h 196"/>
                <a:gd name="T32" fmla="*/ 44 w 123"/>
                <a:gd name="T33" fmla="*/ 171 h 196"/>
                <a:gd name="T34" fmla="*/ 61 w 123"/>
                <a:gd name="T35" fmla="*/ 188 h 196"/>
                <a:gd name="T36" fmla="*/ 79 w 123"/>
                <a:gd name="T37" fmla="*/ 171 h 196"/>
                <a:gd name="T38" fmla="*/ 106 w 123"/>
                <a:gd name="T39" fmla="*/ 93 h 196"/>
                <a:gd name="T40" fmla="*/ 115 w 123"/>
                <a:gd name="T41" fmla="*/ 62 h 196"/>
                <a:gd name="T42" fmla="*/ 98 w 123"/>
                <a:gd name="T43" fmla="*/ 23 h 196"/>
                <a:gd name="T44" fmla="*/ 63 w 123"/>
                <a:gd name="T45" fmla="*/ 10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3" h="196">
                  <a:moveTo>
                    <a:pt x="61" y="196"/>
                  </a:moveTo>
                  <a:cubicBezTo>
                    <a:pt x="47" y="196"/>
                    <a:pt x="36" y="185"/>
                    <a:pt x="35" y="171"/>
                  </a:cubicBezTo>
                  <a:cubicBezTo>
                    <a:pt x="35" y="168"/>
                    <a:pt x="35" y="168"/>
                    <a:pt x="35" y="168"/>
                  </a:cubicBezTo>
                  <a:cubicBezTo>
                    <a:pt x="34" y="143"/>
                    <a:pt x="26" y="118"/>
                    <a:pt x="12" y="96"/>
                  </a:cubicBezTo>
                  <a:cubicBezTo>
                    <a:pt x="4" y="84"/>
                    <a:pt x="0" y="70"/>
                    <a:pt x="2" y="56"/>
                  </a:cubicBezTo>
                  <a:cubicBezTo>
                    <a:pt x="5" y="28"/>
                    <a:pt x="28" y="5"/>
                    <a:pt x="56" y="2"/>
                  </a:cubicBezTo>
                  <a:cubicBezTo>
                    <a:pt x="73" y="0"/>
                    <a:pt x="90" y="5"/>
                    <a:pt x="103" y="17"/>
                  </a:cubicBezTo>
                  <a:cubicBezTo>
                    <a:pt x="116" y="29"/>
                    <a:pt x="123" y="45"/>
                    <a:pt x="123" y="62"/>
                  </a:cubicBezTo>
                  <a:cubicBezTo>
                    <a:pt x="123" y="75"/>
                    <a:pt x="120" y="87"/>
                    <a:pt x="112" y="97"/>
                  </a:cubicBezTo>
                  <a:cubicBezTo>
                    <a:pt x="97" y="119"/>
                    <a:pt x="89" y="145"/>
                    <a:pt x="88" y="171"/>
                  </a:cubicBezTo>
                  <a:cubicBezTo>
                    <a:pt x="87" y="185"/>
                    <a:pt x="76" y="196"/>
                    <a:pt x="61" y="196"/>
                  </a:cubicBezTo>
                  <a:close/>
                  <a:moveTo>
                    <a:pt x="63" y="10"/>
                  </a:moveTo>
                  <a:cubicBezTo>
                    <a:pt x="61" y="10"/>
                    <a:pt x="58" y="10"/>
                    <a:pt x="56" y="10"/>
                  </a:cubicBezTo>
                  <a:cubicBezTo>
                    <a:pt x="32" y="13"/>
                    <a:pt x="13" y="32"/>
                    <a:pt x="10" y="56"/>
                  </a:cubicBezTo>
                  <a:cubicBezTo>
                    <a:pt x="9" y="69"/>
                    <a:pt x="12" y="81"/>
                    <a:pt x="19" y="92"/>
                  </a:cubicBezTo>
                  <a:cubicBezTo>
                    <a:pt x="34" y="114"/>
                    <a:pt x="42" y="141"/>
                    <a:pt x="43" y="168"/>
                  </a:cubicBezTo>
                  <a:cubicBezTo>
                    <a:pt x="44" y="171"/>
                    <a:pt x="44" y="171"/>
                    <a:pt x="44" y="171"/>
                  </a:cubicBezTo>
                  <a:cubicBezTo>
                    <a:pt x="44" y="180"/>
                    <a:pt x="52" y="188"/>
                    <a:pt x="61" y="188"/>
                  </a:cubicBezTo>
                  <a:cubicBezTo>
                    <a:pt x="71" y="188"/>
                    <a:pt x="79" y="180"/>
                    <a:pt x="79" y="171"/>
                  </a:cubicBezTo>
                  <a:cubicBezTo>
                    <a:pt x="80" y="143"/>
                    <a:pt x="90" y="116"/>
                    <a:pt x="106" y="93"/>
                  </a:cubicBezTo>
                  <a:cubicBezTo>
                    <a:pt x="112" y="84"/>
                    <a:pt x="115" y="73"/>
                    <a:pt x="115" y="62"/>
                  </a:cubicBezTo>
                  <a:cubicBezTo>
                    <a:pt x="115" y="48"/>
                    <a:pt x="109" y="33"/>
                    <a:pt x="98" y="23"/>
                  </a:cubicBezTo>
                  <a:cubicBezTo>
                    <a:pt x="88" y="14"/>
                    <a:pt x="76" y="10"/>
                    <a:pt x="6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5" name="Freeform 36">
              <a:extLst>
                <a:ext uri="{FF2B5EF4-FFF2-40B4-BE49-F238E27FC236}">
                  <a16:creationId xmlns:a16="http://schemas.microsoft.com/office/drawing/2014/main" id="{E52E570D-C52B-61D2-AED3-E2FBAC70B42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64599" y="1447895"/>
              <a:ext cx="138596" cy="32611"/>
            </a:xfrm>
            <a:custGeom>
              <a:avLst/>
              <a:gdLst>
                <a:gd name="T0" fmla="*/ 28 w 56"/>
                <a:gd name="T1" fmla="*/ 14 h 14"/>
                <a:gd name="T2" fmla="*/ 2 w 56"/>
                <a:gd name="T3" fmla="*/ 8 h 14"/>
                <a:gd name="T4" fmla="*/ 1 w 56"/>
                <a:gd name="T5" fmla="*/ 2 h 14"/>
                <a:gd name="T6" fmla="*/ 6 w 56"/>
                <a:gd name="T7" fmla="*/ 1 h 14"/>
                <a:gd name="T8" fmla="*/ 6 w 56"/>
                <a:gd name="T9" fmla="*/ 1 h 14"/>
                <a:gd name="T10" fmla="*/ 50 w 56"/>
                <a:gd name="T11" fmla="*/ 1 h 14"/>
                <a:gd name="T12" fmla="*/ 55 w 56"/>
                <a:gd name="T13" fmla="*/ 3 h 14"/>
                <a:gd name="T14" fmla="*/ 53 w 56"/>
                <a:gd name="T15" fmla="*/ 8 h 14"/>
                <a:gd name="T16" fmla="*/ 28 w 56"/>
                <a:gd name="T1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14">
                  <a:moveTo>
                    <a:pt x="28" y="14"/>
                  </a:moveTo>
                  <a:cubicBezTo>
                    <a:pt x="13" y="14"/>
                    <a:pt x="3" y="8"/>
                    <a:pt x="2" y="8"/>
                  </a:cubicBezTo>
                  <a:cubicBezTo>
                    <a:pt x="0" y="7"/>
                    <a:pt x="0" y="4"/>
                    <a:pt x="1" y="2"/>
                  </a:cubicBezTo>
                  <a:cubicBezTo>
                    <a:pt x="2" y="0"/>
                    <a:pt x="4" y="0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7" y="1"/>
                    <a:pt x="26" y="12"/>
                    <a:pt x="50" y="1"/>
                  </a:cubicBezTo>
                  <a:cubicBezTo>
                    <a:pt x="52" y="0"/>
                    <a:pt x="54" y="1"/>
                    <a:pt x="55" y="3"/>
                  </a:cubicBezTo>
                  <a:cubicBezTo>
                    <a:pt x="56" y="5"/>
                    <a:pt x="55" y="7"/>
                    <a:pt x="53" y="8"/>
                  </a:cubicBezTo>
                  <a:cubicBezTo>
                    <a:pt x="44" y="12"/>
                    <a:pt x="35" y="14"/>
                    <a:pt x="2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6" name="Freeform 37">
              <a:extLst>
                <a:ext uri="{FF2B5EF4-FFF2-40B4-BE49-F238E27FC236}">
                  <a16:creationId xmlns:a16="http://schemas.microsoft.com/office/drawing/2014/main" id="{F41227A7-FDBC-6590-1CCC-0BE3DAE42E6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03455" y="958734"/>
              <a:ext cx="20383" cy="101910"/>
            </a:xfrm>
            <a:custGeom>
              <a:avLst/>
              <a:gdLst>
                <a:gd name="T0" fmla="*/ 4 w 9"/>
                <a:gd name="T1" fmla="*/ 41 h 41"/>
                <a:gd name="T2" fmla="*/ 0 w 9"/>
                <a:gd name="T3" fmla="*/ 37 h 41"/>
                <a:gd name="T4" fmla="*/ 0 w 9"/>
                <a:gd name="T5" fmla="*/ 4 h 41"/>
                <a:gd name="T6" fmla="*/ 4 w 9"/>
                <a:gd name="T7" fmla="*/ 0 h 41"/>
                <a:gd name="T8" fmla="*/ 9 w 9"/>
                <a:gd name="T9" fmla="*/ 4 h 41"/>
                <a:gd name="T10" fmla="*/ 9 w 9"/>
                <a:gd name="T11" fmla="*/ 37 h 41"/>
                <a:gd name="T12" fmla="*/ 4 w 9"/>
                <a:gd name="T13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41">
                  <a:moveTo>
                    <a:pt x="4" y="41"/>
                  </a:moveTo>
                  <a:cubicBezTo>
                    <a:pt x="2" y="41"/>
                    <a:pt x="0" y="40"/>
                    <a:pt x="0" y="3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9" y="40"/>
                    <a:pt x="7" y="41"/>
                    <a:pt x="4" y="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7" name="Freeform 38">
              <a:extLst>
                <a:ext uri="{FF2B5EF4-FFF2-40B4-BE49-F238E27FC236}">
                  <a16:creationId xmlns:a16="http://schemas.microsoft.com/office/drawing/2014/main" id="{5F7342A6-FCE4-A9EF-CFFB-AB3EA796564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90967" y="1023955"/>
              <a:ext cx="77452" cy="85605"/>
            </a:xfrm>
            <a:custGeom>
              <a:avLst/>
              <a:gdLst>
                <a:gd name="T0" fmla="*/ 25 w 30"/>
                <a:gd name="T1" fmla="*/ 34 h 34"/>
                <a:gd name="T2" fmla="*/ 22 w 30"/>
                <a:gd name="T3" fmla="*/ 33 h 34"/>
                <a:gd name="T4" fmla="*/ 1 w 30"/>
                <a:gd name="T5" fmla="*/ 8 h 34"/>
                <a:gd name="T6" fmla="*/ 1 w 30"/>
                <a:gd name="T7" fmla="*/ 2 h 34"/>
                <a:gd name="T8" fmla="*/ 7 w 30"/>
                <a:gd name="T9" fmla="*/ 2 h 34"/>
                <a:gd name="T10" fmla="*/ 28 w 30"/>
                <a:gd name="T11" fmla="*/ 28 h 34"/>
                <a:gd name="T12" fmla="*/ 28 w 30"/>
                <a:gd name="T13" fmla="*/ 33 h 34"/>
                <a:gd name="T14" fmla="*/ 25 w 30"/>
                <a:gd name="T15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34">
                  <a:moveTo>
                    <a:pt x="25" y="34"/>
                  </a:moveTo>
                  <a:cubicBezTo>
                    <a:pt x="24" y="34"/>
                    <a:pt x="23" y="34"/>
                    <a:pt x="22" y="33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6"/>
                    <a:pt x="0" y="3"/>
                    <a:pt x="1" y="2"/>
                  </a:cubicBezTo>
                  <a:cubicBezTo>
                    <a:pt x="3" y="0"/>
                    <a:pt x="6" y="1"/>
                    <a:pt x="7" y="2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30" y="29"/>
                    <a:pt x="30" y="32"/>
                    <a:pt x="28" y="33"/>
                  </a:cubicBezTo>
                  <a:cubicBezTo>
                    <a:pt x="27" y="34"/>
                    <a:pt x="26" y="34"/>
                    <a:pt x="25" y="3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8" name="Freeform 39">
              <a:extLst>
                <a:ext uri="{FF2B5EF4-FFF2-40B4-BE49-F238E27FC236}">
                  <a16:creationId xmlns:a16="http://schemas.microsoft.com/office/drawing/2014/main" id="{CC22DC40-2580-10BB-7032-8DD960E534E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88800" y="1195162"/>
              <a:ext cx="105985" cy="36688"/>
            </a:xfrm>
            <a:custGeom>
              <a:avLst/>
              <a:gdLst>
                <a:gd name="T0" fmla="*/ 36 w 41"/>
                <a:gd name="T1" fmla="*/ 14 h 14"/>
                <a:gd name="T2" fmla="*/ 36 w 41"/>
                <a:gd name="T3" fmla="*/ 14 h 14"/>
                <a:gd name="T4" fmla="*/ 3 w 41"/>
                <a:gd name="T5" fmla="*/ 9 h 14"/>
                <a:gd name="T6" fmla="*/ 0 w 41"/>
                <a:gd name="T7" fmla="*/ 4 h 14"/>
                <a:gd name="T8" fmla="*/ 5 w 41"/>
                <a:gd name="T9" fmla="*/ 1 h 14"/>
                <a:gd name="T10" fmla="*/ 37 w 41"/>
                <a:gd name="T11" fmla="*/ 6 h 14"/>
                <a:gd name="T12" fmla="*/ 41 w 41"/>
                <a:gd name="T13" fmla="*/ 11 h 14"/>
                <a:gd name="T14" fmla="*/ 36 w 41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14">
                  <a:moveTo>
                    <a:pt x="36" y="14"/>
                  </a:moveTo>
                  <a:cubicBezTo>
                    <a:pt x="36" y="14"/>
                    <a:pt x="36" y="14"/>
                    <a:pt x="36" y="14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1" y="8"/>
                    <a:pt x="0" y="6"/>
                    <a:pt x="0" y="4"/>
                  </a:cubicBezTo>
                  <a:cubicBezTo>
                    <a:pt x="0" y="2"/>
                    <a:pt x="3" y="0"/>
                    <a:pt x="5" y="1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9" y="7"/>
                    <a:pt x="41" y="9"/>
                    <a:pt x="41" y="11"/>
                  </a:cubicBezTo>
                  <a:cubicBezTo>
                    <a:pt x="40" y="13"/>
                    <a:pt x="38" y="14"/>
                    <a:pt x="36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9" name="Freeform 40">
              <a:extLst>
                <a:ext uri="{FF2B5EF4-FFF2-40B4-BE49-F238E27FC236}">
                  <a16:creationId xmlns:a16="http://schemas.microsoft.com/office/drawing/2014/main" id="{9BE53A3E-EB2E-6F8D-2AF7-CF2065F41C5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56189" y="1345988"/>
              <a:ext cx="97832" cy="65222"/>
            </a:xfrm>
            <a:custGeom>
              <a:avLst/>
              <a:gdLst>
                <a:gd name="T0" fmla="*/ 5 w 38"/>
                <a:gd name="T1" fmla="*/ 26 h 26"/>
                <a:gd name="T2" fmla="*/ 1 w 38"/>
                <a:gd name="T3" fmla="*/ 24 h 26"/>
                <a:gd name="T4" fmla="*/ 3 w 38"/>
                <a:gd name="T5" fmla="*/ 18 h 26"/>
                <a:gd name="T6" fmla="*/ 31 w 38"/>
                <a:gd name="T7" fmla="*/ 2 h 26"/>
                <a:gd name="T8" fmla="*/ 37 w 38"/>
                <a:gd name="T9" fmla="*/ 3 h 26"/>
                <a:gd name="T10" fmla="*/ 35 w 38"/>
                <a:gd name="T11" fmla="*/ 9 h 26"/>
                <a:gd name="T12" fmla="*/ 7 w 38"/>
                <a:gd name="T13" fmla="*/ 25 h 26"/>
                <a:gd name="T14" fmla="*/ 5 w 38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26">
                  <a:moveTo>
                    <a:pt x="5" y="26"/>
                  </a:moveTo>
                  <a:cubicBezTo>
                    <a:pt x="3" y="26"/>
                    <a:pt x="2" y="25"/>
                    <a:pt x="1" y="24"/>
                  </a:cubicBezTo>
                  <a:cubicBezTo>
                    <a:pt x="0" y="22"/>
                    <a:pt x="1" y="19"/>
                    <a:pt x="3" y="18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3" y="0"/>
                    <a:pt x="36" y="1"/>
                    <a:pt x="37" y="3"/>
                  </a:cubicBezTo>
                  <a:cubicBezTo>
                    <a:pt x="38" y="5"/>
                    <a:pt x="37" y="8"/>
                    <a:pt x="35" y="9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6" y="25"/>
                    <a:pt x="5" y="26"/>
                    <a:pt x="5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0" name="Freeform 41">
              <a:extLst>
                <a:ext uri="{FF2B5EF4-FFF2-40B4-BE49-F238E27FC236}">
                  <a16:creationId xmlns:a16="http://schemas.microsoft.com/office/drawing/2014/main" id="{B64C0051-9098-F42B-CBF5-CE150596DF0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028171" y="1345988"/>
              <a:ext cx="93757" cy="65222"/>
            </a:xfrm>
            <a:custGeom>
              <a:avLst/>
              <a:gdLst>
                <a:gd name="T0" fmla="*/ 33 w 38"/>
                <a:gd name="T1" fmla="*/ 26 h 26"/>
                <a:gd name="T2" fmla="*/ 31 w 38"/>
                <a:gd name="T3" fmla="*/ 25 h 26"/>
                <a:gd name="T4" fmla="*/ 3 w 38"/>
                <a:gd name="T5" fmla="*/ 9 h 26"/>
                <a:gd name="T6" fmla="*/ 1 w 38"/>
                <a:gd name="T7" fmla="*/ 3 h 26"/>
                <a:gd name="T8" fmla="*/ 7 w 38"/>
                <a:gd name="T9" fmla="*/ 2 h 26"/>
                <a:gd name="T10" fmla="*/ 35 w 38"/>
                <a:gd name="T11" fmla="*/ 18 h 26"/>
                <a:gd name="T12" fmla="*/ 37 w 38"/>
                <a:gd name="T13" fmla="*/ 24 h 26"/>
                <a:gd name="T14" fmla="*/ 33 w 38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26">
                  <a:moveTo>
                    <a:pt x="33" y="26"/>
                  </a:moveTo>
                  <a:cubicBezTo>
                    <a:pt x="33" y="26"/>
                    <a:pt x="32" y="25"/>
                    <a:pt x="31" y="25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1" y="8"/>
                    <a:pt x="0" y="5"/>
                    <a:pt x="1" y="3"/>
                  </a:cubicBezTo>
                  <a:cubicBezTo>
                    <a:pt x="2" y="1"/>
                    <a:pt x="5" y="0"/>
                    <a:pt x="7" y="2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7" y="19"/>
                    <a:pt x="38" y="22"/>
                    <a:pt x="37" y="24"/>
                  </a:cubicBezTo>
                  <a:cubicBezTo>
                    <a:pt x="36" y="25"/>
                    <a:pt x="35" y="26"/>
                    <a:pt x="33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1" name="Freeform 42">
              <a:extLst>
                <a:ext uri="{FF2B5EF4-FFF2-40B4-BE49-F238E27FC236}">
                  <a16:creationId xmlns:a16="http://schemas.microsoft.com/office/drawing/2014/main" id="{6650FFAB-1DBB-5C15-0668-F538A0CF3A7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003713" y="1195162"/>
              <a:ext cx="101910" cy="36688"/>
            </a:xfrm>
            <a:custGeom>
              <a:avLst/>
              <a:gdLst>
                <a:gd name="T0" fmla="*/ 4 w 41"/>
                <a:gd name="T1" fmla="*/ 14 h 14"/>
                <a:gd name="T2" fmla="*/ 0 w 41"/>
                <a:gd name="T3" fmla="*/ 11 h 14"/>
                <a:gd name="T4" fmla="*/ 4 w 41"/>
                <a:gd name="T5" fmla="*/ 6 h 14"/>
                <a:gd name="T6" fmla="*/ 36 w 41"/>
                <a:gd name="T7" fmla="*/ 1 h 14"/>
                <a:gd name="T8" fmla="*/ 41 w 41"/>
                <a:gd name="T9" fmla="*/ 4 h 14"/>
                <a:gd name="T10" fmla="*/ 38 w 41"/>
                <a:gd name="T11" fmla="*/ 9 h 14"/>
                <a:gd name="T12" fmla="*/ 5 w 41"/>
                <a:gd name="T13" fmla="*/ 14 h 14"/>
                <a:gd name="T14" fmla="*/ 4 w 41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14">
                  <a:moveTo>
                    <a:pt x="4" y="14"/>
                  </a:moveTo>
                  <a:cubicBezTo>
                    <a:pt x="3" y="14"/>
                    <a:pt x="1" y="13"/>
                    <a:pt x="0" y="11"/>
                  </a:cubicBezTo>
                  <a:cubicBezTo>
                    <a:pt x="0" y="9"/>
                    <a:pt x="2" y="7"/>
                    <a:pt x="4" y="6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8" y="0"/>
                    <a:pt x="41" y="2"/>
                    <a:pt x="41" y="4"/>
                  </a:cubicBezTo>
                  <a:cubicBezTo>
                    <a:pt x="41" y="6"/>
                    <a:pt x="40" y="8"/>
                    <a:pt x="38" y="9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4"/>
                    <a:pt x="5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2" name="Freeform 43">
              <a:extLst>
                <a:ext uri="{FF2B5EF4-FFF2-40B4-BE49-F238E27FC236}">
                  <a16:creationId xmlns:a16="http://schemas.microsoft.com/office/drawing/2014/main" id="{89DE8D09-885D-5E9F-5AEB-B1F9E655ED13}"/>
                </a:ext>
              </a:extLst>
            </p:cNvPr>
            <p:cNvSpPr>
              <a:spLocks/>
            </p:cNvSpPr>
            <p:nvPr/>
          </p:nvSpPr>
          <p:spPr bwMode="auto">
            <a:xfrm>
              <a:off x="-3073012" y="1023955"/>
              <a:ext cx="73374" cy="85605"/>
            </a:xfrm>
            <a:custGeom>
              <a:avLst/>
              <a:gdLst>
                <a:gd name="T0" fmla="*/ 5 w 30"/>
                <a:gd name="T1" fmla="*/ 34 h 34"/>
                <a:gd name="T2" fmla="*/ 2 w 30"/>
                <a:gd name="T3" fmla="*/ 33 h 34"/>
                <a:gd name="T4" fmla="*/ 2 w 30"/>
                <a:gd name="T5" fmla="*/ 28 h 34"/>
                <a:gd name="T6" fmla="*/ 23 w 30"/>
                <a:gd name="T7" fmla="*/ 2 h 34"/>
                <a:gd name="T8" fmla="*/ 28 w 30"/>
                <a:gd name="T9" fmla="*/ 2 h 34"/>
                <a:gd name="T10" fmla="*/ 29 w 30"/>
                <a:gd name="T11" fmla="*/ 8 h 34"/>
                <a:gd name="T12" fmla="*/ 8 w 30"/>
                <a:gd name="T13" fmla="*/ 33 h 34"/>
                <a:gd name="T14" fmla="*/ 5 w 30"/>
                <a:gd name="T15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34">
                  <a:moveTo>
                    <a:pt x="5" y="34"/>
                  </a:moveTo>
                  <a:cubicBezTo>
                    <a:pt x="4" y="34"/>
                    <a:pt x="3" y="34"/>
                    <a:pt x="2" y="33"/>
                  </a:cubicBezTo>
                  <a:cubicBezTo>
                    <a:pt x="0" y="32"/>
                    <a:pt x="0" y="29"/>
                    <a:pt x="2" y="28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4" y="1"/>
                    <a:pt x="27" y="0"/>
                    <a:pt x="28" y="2"/>
                  </a:cubicBezTo>
                  <a:cubicBezTo>
                    <a:pt x="30" y="3"/>
                    <a:pt x="30" y="6"/>
                    <a:pt x="29" y="8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7" y="34"/>
                    <a:pt x="6" y="34"/>
                    <a:pt x="5" y="3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7" name="Shape8_20200717_154352">
            <a:extLst>
              <a:ext uri="{FF2B5EF4-FFF2-40B4-BE49-F238E27FC236}">
                <a16:creationId xmlns:a16="http://schemas.microsoft.com/office/drawing/2014/main" id="{5A979016-3E97-CFCA-F979-27FF2E58FC22}"/>
              </a:ext>
            </a:extLst>
          </p:cNvPr>
          <p:cNvGrpSpPr>
            <a:grpSpLocks noChangeAspect="1"/>
          </p:cNvGrpSpPr>
          <p:nvPr/>
        </p:nvGrpSpPr>
        <p:grpSpPr>
          <a:xfrm>
            <a:off x="9633905" y="1259716"/>
            <a:ext cx="811192" cy="550308"/>
            <a:chOff x="-7618139" y="2373227"/>
            <a:chExt cx="811192" cy="550308"/>
          </a:xfrm>
          <a:solidFill>
            <a:schemeClr val="accent1"/>
          </a:solidFill>
        </p:grpSpPr>
        <p:sp>
          <p:nvSpPr>
            <p:cNvPr id="259" name="Freeform 44">
              <a:extLst>
                <a:ext uri="{FF2B5EF4-FFF2-40B4-BE49-F238E27FC236}">
                  <a16:creationId xmlns:a16="http://schemas.microsoft.com/office/drawing/2014/main" id="{13864EE3-2A46-852A-0975-579442F18E4E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04262" y="2585197"/>
              <a:ext cx="497315" cy="338338"/>
            </a:xfrm>
            <a:custGeom>
              <a:avLst/>
              <a:gdLst>
                <a:gd name="T0" fmla="*/ 97 w 197"/>
                <a:gd name="T1" fmla="*/ 135 h 135"/>
                <a:gd name="T2" fmla="*/ 1 w 197"/>
                <a:gd name="T3" fmla="*/ 86 h 135"/>
                <a:gd name="T4" fmla="*/ 3 w 197"/>
                <a:gd name="T5" fmla="*/ 81 h 135"/>
                <a:gd name="T6" fmla="*/ 9 w 197"/>
                <a:gd name="T7" fmla="*/ 83 h 135"/>
                <a:gd name="T8" fmla="*/ 97 w 197"/>
                <a:gd name="T9" fmla="*/ 127 h 135"/>
                <a:gd name="T10" fmla="*/ 153 w 197"/>
                <a:gd name="T11" fmla="*/ 115 h 135"/>
                <a:gd name="T12" fmla="*/ 156 w 197"/>
                <a:gd name="T13" fmla="*/ 114 h 135"/>
                <a:gd name="T14" fmla="*/ 184 w 197"/>
                <a:gd name="T15" fmla="*/ 121 h 135"/>
                <a:gd name="T16" fmla="*/ 178 w 197"/>
                <a:gd name="T17" fmla="*/ 98 h 135"/>
                <a:gd name="T18" fmla="*/ 179 w 197"/>
                <a:gd name="T19" fmla="*/ 95 h 135"/>
                <a:gd name="T20" fmla="*/ 189 w 197"/>
                <a:gd name="T21" fmla="*/ 67 h 135"/>
                <a:gd name="T22" fmla="*/ 122 w 197"/>
                <a:gd name="T23" fmla="*/ 9 h 135"/>
                <a:gd name="T24" fmla="*/ 119 w 197"/>
                <a:gd name="T25" fmla="*/ 4 h 135"/>
                <a:gd name="T26" fmla="*/ 123 w 197"/>
                <a:gd name="T27" fmla="*/ 1 h 135"/>
                <a:gd name="T28" fmla="*/ 197 w 197"/>
                <a:gd name="T29" fmla="*/ 67 h 135"/>
                <a:gd name="T30" fmla="*/ 186 w 197"/>
                <a:gd name="T31" fmla="*/ 98 h 135"/>
                <a:gd name="T32" fmla="*/ 193 w 197"/>
                <a:gd name="T33" fmla="*/ 126 h 135"/>
                <a:gd name="T34" fmla="*/ 192 w 197"/>
                <a:gd name="T35" fmla="*/ 130 h 135"/>
                <a:gd name="T36" fmla="*/ 188 w 197"/>
                <a:gd name="T37" fmla="*/ 131 h 135"/>
                <a:gd name="T38" fmla="*/ 155 w 197"/>
                <a:gd name="T39" fmla="*/ 123 h 135"/>
                <a:gd name="T40" fmla="*/ 97 w 197"/>
                <a:gd name="T41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7" h="135">
                  <a:moveTo>
                    <a:pt x="97" y="135"/>
                  </a:moveTo>
                  <a:cubicBezTo>
                    <a:pt x="53" y="135"/>
                    <a:pt x="13" y="115"/>
                    <a:pt x="1" y="86"/>
                  </a:cubicBezTo>
                  <a:cubicBezTo>
                    <a:pt x="0" y="84"/>
                    <a:pt x="1" y="81"/>
                    <a:pt x="3" y="81"/>
                  </a:cubicBezTo>
                  <a:cubicBezTo>
                    <a:pt x="5" y="80"/>
                    <a:pt x="8" y="81"/>
                    <a:pt x="9" y="83"/>
                  </a:cubicBezTo>
                  <a:cubicBezTo>
                    <a:pt x="20" y="109"/>
                    <a:pt x="56" y="127"/>
                    <a:pt x="97" y="127"/>
                  </a:cubicBezTo>
                  <a:cubicBezTo>
                    <a:pt x="117" y="127"/>
                    <a:pt x="137" y="123"/>
                    <a:pt x="153" y="115"/>
                  </a:cubicBezTo>
                  <a:cubicBezTo>
                    <a:pt x="154" y="114"/>
                    <a:pt x="155" y="114"/>
                    <a:pt x="156" y="114"/>
                  </a:cubicBezTo>
                  <a:cubicBezTo>
                    <a:pt x="184" y="121"/>
                    <a:pt x="184" y="121"/>
                    <a:pt x="184" y="121"/>
                  </a:cubicBezTo>
                  <a:cubicBezTo>
                    <a:pt x="178" y="98"/>
                    <a:pt x="178" y="98"/>
                    <a:pt x="178" y="98"/>
                  </a:cubicBezTo>
                  <a:cubicBezTo>
                    <a:pt x="178" y="97"/>
                    <a:pt x="178" y="96"/>
                    <a:pt x="179" y="95"/>
                  </a:cubicBezTo>
                  <a:cubicBezTo>
                    <a:pt x="186" y="86"/>
                    <a:pt x="189" y="77"/>
                    <a:pt x="189" y="67"/>
                  </a:cubicBezTo>
                  <a:cubicBezTo>
                    <a:pt x="189" y="40"/>
                    <a:pt x="162" y="16"/>
                    <a:pt x="122" y="9"/>
                  </a:cubicBezTo>
                  <a:cubicBezTo>
                    <a:pt x="120" y="8"/>
                    <a:pt x="118" y="6"/>
                    <a:pt x="119" y="4"/>
                  </a:cubicBezTo>
                  <a:cubicBezTo>
                    <a:pt x="119" y="2"/>
                    <a:pt x="121" y="0"/>
                    <a:pt x="123" y="1"/>
                  </a:cubicBezTo>
                  <a:cubicBezTo>
                    <a:pt x="167" y="9"/>
                    <a:pt x="197" y="36"/>
                    <a:pt x="197" y="67"/>
                  </a:cubicBezTo>
                  <a:cubicBezTo>
                    <a:pt x="197" y="78"/>
                    <a:pt x="194" y="89"/>
                    <a:pt x="186" y="98"/>
                  </a:cubicBezTo>
                  <a:cubicBezTo>
                    <a:pt x="193" y="126"/>
                    <a:pt x="193" y="126"/>
                    <a:pt x="193" y="126"/>
                  </a:cubicBezTo>
                  <a:cubicBezTo>
                    <a:pt x="194" y="127"/>
                    <a:pt x="193" y="129"/>
                    <a:pt x="192" y="130"/>
                  </a:cubicBezTo>
                  <a:cubicBezTo>
                    <a:pt x="191" y="131"/>
                    <a:pt x="190" y="131"/>
                    <a:pt x="188" y="131"/>
                  </a:cubicBezTo>
                  <a:cubicBezTo>
                    <a:pt x="155" y="123"/>
                    <a:pt x="155" y="123"/>
                    <a:pt x="155" y="123"/>
                  </a:cubicBezTo>
                  <a:cubicBezTo>
                    <a:pt x="138" y="131"/>
                    <a:pt x="118" y="135"/>
                    <a:pt x="97" y="13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0" name="Freeform 45">
              <a:extLst>
                <a:ext uri="{FF2B5EF4-FFF2-40B4-BE49-F238E27FC236}">
                  <a16:creationId xmlns:a16="http://schemas.microsoft.com/office/drawing/2014/main" id="{ACCF57CE-3838-4611-7525-124BB6B040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618139" y="2373227"/>
              <a:ext cx="631835" cy="428018"/>
            </a:xfrm>
            <a:custGeom>
              <a:avLst/>
              <a:gdLst>
                <a:gd name="T0" fmla="*/ 125 w 250"/>
                <a:gd name="T1" fmla="*/ 170 h 170"/>
                <a:gd name="T2" fmla="*/ 53 w 250"/>
                <a:gd name="T3" fmla="*/ 154 h 170"/>
                <a:gd name="T4" fmla="*/ 11 w 250"/>
                <a:gd name="T5" fmla="*/ 164 h 170"/>
                <a:gd name="T6" fmla="*/ 7 w 250"/>
                <a:gd name="T7" fmla="*/ 163 h 170"/>
                <a:gd name="T8" fmla="*/ 6 w 250"/>
                <a:gd name="T9" fmla="*/ 159 h 170"/>
                <a:gd name="T10" fmla="*/ 15 w 250"/>
                <a:gd name="T11" fmla="*/ 124 h 170"/>
                <a:gd name="T12" fmla="*/ 0 w 250"/>
                <a:gd name="T13" fmla="*/ 85 h 170"/>
                <a:gd name="T14" fmla="*/ 125 w 250"/>
                <a:gd name="T15" fmla="*/ 0 h 170"/>
                <a:gd name="T16" fmla="*/ 250 w 250"/>
                <a:gd name="T17" fmla="*/ 85 h 170"/>
                <a:gd name="T18" fmla="*/ 125 w 250"/>
                <a:gd name="T19" fmla="*/ 170 h 170"/>
                <a:gd name="T20" fmla="*/ 53 w 250"/>
                <a:gd name="T21" fmla="*/ 145 h 170"/>
                <a:gd name="T22" fmla="*/ 55 w 250"/>
                <a:gd name="T23" fmla="*/ 146 h 170"/>
                <a:gd name="T24" fmla="*/ 125 w 250"/>
                <a:gd name="T25" fmla="*/ 161 h 170"/>
                <a:gd name="T26" fmla="*/ 242 w 250"/>
                <a:gd name="T27" fmla="*/ 85 h 170"/>
                <a:gd name="T28" fmla="*/ 125 w 250"/>
                <a:gd name="T29" fmla="*/ 8 h 170"/>
                <a:gd name="T30" fmla="*/ 9 w 250"/>
                <a:gd name="T31" fmla="*/ 85 h 170"/>
                <a:gd name="T32" fmla="*/ 22 w 250"/>
                <a:gd name="T33" fmla="*/ 120 h 170"/>
                <a:gd name="T34" fmla="*/ 23 w 250"/>
                <a:gd name="T35" fmla="*/ 124 h 170"/>
                <a:gd name="T36" fmla="*/ 15 w 250"/>
                <a:gd name="T37" fmla="*/ 155 h 170"/>
                <a:gd name="T38" fmla="*/ 52 w 250"/>
                <a:gd name="T39" fmla="*/ 145 h 170"/>
                <a:gd name="T40" fmla="*/ 53 w 250"/>
                <a:gd name="T41" fmla="*/ 145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0" h="170">
                  <a:moveTo>
                    <a:pt x="125" y="170"/>
                  </a:moveTo>
                  <a:cubicBezTo>
                    <a:pt x="99" y="170"/>
                    <a:pt x="74" y="164"/>
                    <a:pt x="53" y="154"/>
                  </a:cubicBezTo>
                  <a:cubicBezTo>
                    <a:pt x="11" y="164"/>
                    <a:pt x="11" y="164"/>
                    <a:pt x="11" y="164"/>
                  </a:cubicBezTo>
                  <a:cubicBezTo>
                    <a:pt x="9" y="165"/>
                    <a:pt x="8" y="164"/>
                    <a:pt x="7" y="163"/>
                  </a:cubicBezTo>
                  <a:cubicBezTo>
                    <a:pt x="6" y="162"/>
                    <a:pt x="5" y="161"/>
                    <a:pt x="6" y="159"/>
                  </a:cubicBezTo>
                  <a:cubicBezTo>
                    <a:pt x="15" y="124"/>
                    <a:pt x="15" y="124"/>
                    <a:pt x="15" y="124"/>
                  </a:cubicBezTo>
                  <a:cubicBezTo>
                    <a:pt x="5" y="112"/>
                    <a:pt x="0" y="99"/>
                    <a:pt x="0" y="85"/>
                  </a:cubicBezTo>
                  <a:cubicBezTo>
                    <a:pt x="0" y="38"/>
                    <a:pt x="56" y="0"/>
                    <a:pt x="125" y="0"/>
                  </a:cubicBezTo>
                  <a:cubicBezTo>
                    <a:pt x="194" y="0"/>
                    <a:pt x="250" y="38"/>
                    <a:pt x="250" y="85"/>
                  </a:cubicBezTo>
                  <a:cubicBezTo>
                    <a:pt x="250" y="132"/>
                    <a:pt x="194" y="170"/>
                    <a:pt x="125" y="170"/>
                  </a:cubicBezTo>
                  <a:close/>
                  <a:moveTo>
                    <a:pt x="53" y="145"/>
                  </a:moveTo>
                  <a:cubicBezTo>
                    <a:pt x="54" y="145"/>
                    <a:pt x="54" y="145"/>
                    <a:pt x="55" y="146"/>
                  </a:cubicBezTo>
                  <a:cubicBezTo>
                    <a:pt x="75" y="156"/>
                    <a:pt x="100" y="161"/>
                    <a:pt x="125" y="161"/>
                  </a:cubicBezTo>
                  <a:cubicBezTo>
                    <a:pt x="189" y="161"/>
                    <a:pt x="242" y="127"/>
                    <a:pt x="242" y="85"/>
                  </a:cubicBezTo>
                  <a:cubicBezTo>
                    <a:pt x="242" y="43"/>
                    <a:pt x="189" y="8"/>
                    <a:pt x="125" y="8"/>
                  </a:cubicBezTo>
                  <a:cubicBezTo>
                    <a:pt x="61" y="8"/>
                    <a:pt x="9" y="43"/>
                    <a:pt x="9" y="85"/>
                  </a:cubicBezTo>
                  <a:cubicBezTo>
                    <a:pt x="9" y="97"/>
                    <a:pt x="13" y="110"/>
                    <a:pt x="22" y="120"/>
                  </a:cubicBezTo>
                  <a:cubicBezTo>
                    <a:pt x="23" y="122"/>
                    <a:pt x="23" y="123"/>
                    <a:pt x="23" y="124"/>
                  </a:cubicBezTo>
                  <a:cubicBezTo>
                    <a:pt x="15" y="155"/>
                    <a:pt x="15" y="155"/>
                    <a:pt x="15" y="155"/>
                  </a:cubicBezTo>
                  <a:cubicBezTo>
                    <a:pt x="52" y="145"/>
                    <a:pt x="52" y="145"/>
                    <a:pt x="52" y="145"/>
                  </a:cubicBezTo>
                  <a:cubicBezTo>
                    <a:pt x="52" y="145"/>
                    <a:pt x="53" y="145"/>
                    <a:pt x="53" y="14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1" name="Freeform 46">
              <a:extLst>
                <a:ext uri="{FF2B5EF4-FFF2-40B4-BE49-F238E27FC236}">
                  <a16:creationId xmlns:a16="http://schemas.microsoft.com/office/drawing/2014/main" id="{A55DD7EB-7BFF-EA1E-9462-B661C03049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349100" y="2540356"/>
              <a:ext cx="93757" cy="97832"/>
            </a:xfrm>
            <a:custGeom>
              <a:avLst/>
              <a:gdLst>
                <a:gd name="T0" fmla="*/ 19 w 38"/>
                <a:gd name="T1" fmla="*/ 38 h 38"/>
                <a:gd name="T2" fmla="*/ 0 w 38"/>
                <a:gd name="T3" fmla="*/ 19 h 38"/>
                <a:gd name="T4" fmla="*/ 19 w 38"/>
                <a:gd name="T5" fmla="*/ 0 h 38"/>
                <a:gd name="T6" fmla="*/ 38 w 38"/>
                <a:gd name="T7" fmla="*/ 19 h 38"/>
                <a:gd name="T8" fmla="*/ 19 w 38"/>
                <a:gd name="T9" fmla="*/ 38 h 38"/>
                <a:gd name="T10" fmla="*/ 19 w 38"/>
                <a:gd name="T11" fmla="*/ 8 h 38"/>
                <a:gd name="T12" fmla="*/ 8 w 38"/>
                <a:gd name="T13" fmla="*/ 19 h 38"/>
                <a:gd name="T14" fmla="*/ 19 w 38"/>
                <a:gd name="T15" fmla="*/ 30 h 38"/>
                <a:gd name="T16" fmla="*/ 30 w 38"/>
                <a:gd name="T17" fmla="*/ 19 h 38"/>
                <a:gd name="T18" fmla="*/ 19 w 38"/>
                <a:gd name="T19" fmla="*/ 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8">
                  <a:moveTo>
                    <a:pt x="19" y="38"/>
                  </a:moveTo>
                  <a:cubicBezTo>
                    <a:pt x="9" y="38"/>
                    <a:pt x="0" y="29"/>
                    <a:pt x="0" y="19"/>
                  </a:cubicBezTo>
                  <a:cubicBezTo>
                    <a:pt x="0" y="8"/>
                    <a:pt x="9" y="0"/>
                    <a:pt x="19" y="0"/>
                  </a:cubicBezTo>
                  <a:cubicBezTo>
                    <a:pt x="30" y="0"/>
                    <a:pt x="38" y="8"/>
                    <a:pt x="38" y="19"/>
                  </a:cubicBezTo>
                  <a:cubicBezTo>
                    <a:pt x="38" y="29"/>
                    <a:pt x="30" y="38"/>
                    <a:pt x="19" y="38"/>
                  </a:cubicBezTo>
                  <a:close/>
                  <a:moveTo>
                    <a:pt x="19" y="8"/>
                  </a:moveTo>
                  <a:cubicBezTo>
                    <a:pt x="13" y="8"/>
                    <a:pt x="8" y="13"/>
                    <a:pt x="8" y="19"/>
                  </a:cubicBezTo>
                  <a:cubicBezTo>
                    <a:pt x="8" y="25"/>
                    <a:pt x="13" y="30"/>
                    <a:pt x="19" y="30"/>
                  </a:cubicBezTo>
                  <a:cubicBezTo>
                    <a:pt x="25" y="30"/>
                    <a:pt x="30" y="25"/>
                    <a:pt x="30" y="19"/>
                  </a:cubicBezTo>
                  <a:cubicBezTo>
                    <a:pt x="30" y="13"/>
                    <a:pt x="25" y="8"/>
                    <a:pt x="1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2" name="Freeform 47">
              <a:extLst>
                <a:ext uri="{FF2B5EF4-FFF2-40B4-BE49-F238E27FC236}">
                  <a16:creationId xmlns:a16="http://schemas.microsoft.com/office/drawing/2014/main" id="{82D4E024-CFA5-C224-7DEC-56A4172714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491774" y="2540356"/>
              <a:ext cx="97832" cy="97832"/>
            </a:xfrm>
            <a:custGeom>
              <a:avLst/>
              <a:gdLst>
                <a:gd name="T0" fmla="*/ 19 w 38"/>
                <a:gd name="T1" fmla="*/ 38 h 38"/>
                <a:gd name="T2" fmla="*/ 0 w 38"/>
                <a:gd name="T3" fmla="*/ 19 h 38"/>
                <a:gd name="T4" fmla="*/ 19 w 38"/>
                <a:gd name="T5" fmla="*/ 0 h 38"/>
                <a:gd name="T6" fmla="*/ 38 w 38"/>
                <a:gd name="T7" fmla="*/ 19 h 38"/>
                <a:gd name="T8" fmla="*/ 19 w 38"/>
                <a:gd name="T9" fmla="*/ 38 h 38"/>
                <a:gd name="T10" fmla="*/ 19 w 38"/>
                <a:gd name="T11" fmla="*/ 8 h 38"/>
                <a:gd name="T12" fmla="*/ 8 w 38"/>
                <a:gd name="T13" fmla="*/ 19 h 38"/>
                <a:gd name="T14" fmla="*/ 19 w 38"/>
                <a:gd name="T15" fmla="*/ 30 h 38"/>
                <a:gd name="T16" fmla="*/ 29 w 38"/>
                <a:gd name="T17" fmla="*/ 19 h 38"/>
                <a:gd name="T18" fmla="*/ 19 w 38"/>
                <a:gd name="T19" fmla="*/ 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8">
                  <a:moveTo>
                    <a:pt x="19" y="38"/>
                  </a:moveTo>
                  <a:cubicBezTo>
                    <a:pt x="8" y="38"/>
                    <a:pt x="0" y="29"/>
                    <a:pt x="0" y="19"/>
                  </a:cubicBezTo>
                  <a:cubicBezTo>
                    <a:pt x="0" y="8"/>
                    <a:pt x="8" y="0"/>
                    <a:pt x="19" y="0"/>
                  </a:cubicBezTo>
                  <a:cubicBezTo>
                    <a:pt x="29" y="0"/>
                    <a:pt x="38" y="8"/>
                    <a:pt x="38" y="19"/>
                  </a:cubicBezTo>
                  <a:cubicBezTo>
                    <a:pt x="38" y="29"/>
                    <a:pt x="29" y="38"/>
                    <a:pt x="19" y="38"/>
                  </a:cubicBezTo>
                  <a:close/>
                  <a:moveTo>
                    <a:pt x="19" y="8"/>
                  </a:moveTo>
                  <a:cubicBezTo>
                    <a:pt x="13" y="8"/>
                    <a:pt x="8" y="13"/>
                    <a:pt x="8" y="19"/>
                  </a:cubicBezTo>
                  <a:cubicBezTo>
                    <a:pt x="8" y="25"/>
                    <a:pt x="13" y="30"/>
                    <a:pt x="19" y="30"/>
                  </a:cubicBezTo>
                  <a:cubicBezTo>
                    <a:pt x="25" y="30"/>
                    <a:pt x="29" y="25"/>
                    <a:pt x="29" y="19"/>
                  </a:cubicBezTo>
                  <a:cubicBezTo>
                    <a:pt x="29" y="13"/>
                    <a:pt x="25" y="8"/>
                    <a:pt x="1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3" name="Freeform 48">
              <a:extLst>
                <a:ext uri="{FF2B5EF4-FFF2-40B4-BE49-F238E27FC236}">
                  <a16:creationId xmlns:a16="http://schemas.microsoft.com/office/drawing/2014/main" id="{3C3DC751-159C-2ADA-46A1-11630070D0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206430" y="2540356"/>
              <a:ext cx="97832" cy="97832"/>
            </a:xfrm>
            <a:custGeom>
              <a:avLst/>
              <a:gdLst>
                <a:gd name="T0" fmla="*/ 19 w 38"/>
                <a:gd name="T1" fmla="*/ 38 h 38"/>
                <a:gd name="T2" fmla="*/ 0 w 38"/>
                <a:gd name="T3" fmla="*/ 19 h 38"/>
                <a:gd name="T4" fmla="*/ 19 w 38"/>
                <a:gd name="T5" fmla="*/ 0 h 38"/>
                <a:gd name="T6" fmla="*/ 38 w 38"/>
                <a:gd name="T7" fmla="*/ 19 h 38"/>
                <a:gd name="T8" fmla="*/ 19 w 38"/>
                <a:gd name="T9" fmla="*/ 38 h 38"/>
                <a:gd name="T10" fmla="*/ 19 w 38"/>
                <a:gd name="T11" fmla="*/ 8 h 38"/>
                <a:gd name="T12" fmla="*/ 8 w 38"/>
                <a:gd name="T13" fmla="*/ 19 h 38"/>
                <a:gd name="T14" fmla="*/ 19 w 38"/>
                <a:gd name="T15" fmla="*/ 30 h 38"/>
                <a:gd name="T16" fmla="*/ 29 w 38"/>
                <a:gd name="T17" fmla="*/ 19 h 38"/>
                <a:gd name="T18" fmla="*/ 19 w 38"/>
                <a:gd name="T19" fmla="*/ 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8">
                  <a:moveTo>
                    <a:pt x="19" y="38"/>
                  </a:moveTo>
                  <a:cubicBezTo>
                    <a:pt x="8" y="38"/>
                    <a:pt x="0" y="29"/>
                    <a:pt x="0" y="19"/>
                  </a:cubicBezTo>
                  <a:cubicBezTo>
                    <a:pt x="0" y="8"/>
                    <a:pt x="8" y="0"/>
                    <a:pt x="19" y="0"/>
                  </a:cubicBezTo>
                  <a:cubicBezTo>
                    <a:pt x="29" y="0"/>
                    <a:pt x="38" y="8"/>
                    <a:pt x="38" y="19"/>
                  </a:cubicBezTo>
                  <a:cubicBezTo>
                    <a:pt x="38" y="29"/>
                    <a:pt x="29" y="38"/>
                    <a:pt x="19" y="38"/>
                  </a:cubicBezTo>
                  <a:close/>
                  <a:moveTo>
                    <a:pt x="19" y="8"/>
                  </a:moveTo>
                  <a:cubicBezTo>
                    <a:pt x="13" y="8"/>
                    <a:pt x="8" y="13"/>
                    <a:pt x="8" y="19"/>
                  </a:cubicBezTo>
                  <a:cubicBezTo>
                    <a:pt x="8" y="25"/>
                    <a:pt x="13" y="30"/>
                    <a:pt x="19" y="30"/>
                  </a:cubicBezTo>
                  <a:cubicBezTo>
                    <a:pt x="24" y="30"/>
                    <a:pt x="29" y="25"/>
                    <a:pt x="29" y="19"/>
                  </a:cubicBezTo>
                  <a:cubicBezTo>
                    <a:pt x="29" y="13"/>
                    <a:pt x="24" y="8"/>
                    <a:pt x="1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8" name="Shape9_20200717_154352">
            <a:extLst>
              <a:ext uri="{FF2B5EF4-FFF2-40B4-BE49-F238E27FC236}">
                <a16:creationId xmlns:a16="http://schemas.microsoft.com/office/drawing/2014/main" id="{69982DAA-361B-A861-3451-6D515B5236DB}"/>
              </a:ext>
            </a:extLst>
          </p:cNvPr>
          <p:cNvGrpSpPr>
            <a:grpSpLocks noChangeAspect="1"/>
          </p:cNvGrpSpPr>
          <p:nvPr/>
        </p:nvGrpSpPr>
        <p:grpSpPr>
          <a:xfrm>
            <a:off x="530941" y="2530049"/>
            <a:ext cx="656291" cy="603299"/>
            <a:chOff x="-4862528" y="2413991"/>
            <a:chExt cx="656291" cy="603299"/>
          </a:xfrm>
          <a:solidFill>
            <a:schemeClr val="accent1"/>
          </a:solidFill>
        </p:grpSpPr>
        <p:sp>
          <p:nvSpPr>
            <p:cNvPr id="234" name="Freeform 49">
              <a:extLst>
                <a:ext uri="{FF2B5EF4-FFF2-40B4-BE49-F238E27FC236}">
                  <a16:creationId xmlns:a16="http://schemas.microsoft.com/office/drawing/2014/main" id="{6687B8DF-7B75-8705-C2D3-0D00F7129282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20114" y="2413991"/>
              <a:ext cx="171207" cy="118215"/>
            </a:xfrm>
            <a:custGeom>
              <a:avLst/>
              <a:gdLst>
                <a:gd name="T0" fmla="*/ 61 w 67"/>
                <a:gd name="T1" fmla="*/ 48 h 48"/>
                <a:gd name="T2" fmla="*/ 59 w 67"/>
                <a:gd name="T3" fmla="*/ 48 h 48"/>
                <a:gd name="T4" fmla="*/ 57 w 67"/>
                <a:gd name="T5" fmla="*/ 43 h 48"/>
                <a:gd name="T6" fmla="*/ 59 w 67"/>
                <a:gd name="T7" fmla="*/ 33 h 48"/>
                <a:gd name="T8" fmla="*/ 34 w 67"/>
                <a:gd name="T9" fmla="*/ 8 h 48"/>
                <a:gd name="T10" fmla="*/ 9 w 67"/>
                <a:gd name="T11" fmla="*/ 33 h 48"/>
                <a:gd name="T12" fmla="*/ 4 w 67"/>
                <a:gd name="T13" fmla="*/ 37 h 48"/>
                <a:gd name="T14" fmla="*/ 0 w 67"/>
                <a:gd name="T15" fmla="*/ 33 h 48"/>
                <a:gd name="T16" fmla="*/ 34 w 67"/>
                <a:gd name="T17" fmla="*/ 0 h 48"/>
                <a:gd name="T18" fmla="*/ 67 w 67"/>
                <a:gd name="T19" fmla="*/ 33 h 48"/>
                <a:gd name="T20" fmla="*/ 65 w 67"/>
                <a:gd name="T21" fmla="*/ 46 h 48"/>
                <a:gd name="T22" fmla="*/ 61 w 67"/>
                <a:gd name="T2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48">
                  <a:moveTo>
                    <a:pt x="61" y="48"/>
                  </a:moveTo>
                  <a:cubicBezTo>
                    <a:pt x="60" y="48"/>
                    <a:pt x="60" y="48"/>
                    <a:pt x="59" y="48"/>
                  </a:cubicBezTo>
                  <a:cubicBezTo>
                    <a:pt x="57" y="47"/>
                    <a:pt x="56" y="45"/>
                    <a:pt x="57" y="43"/>
                  </a:cubicBezTo>
                  <a:cubicBezTo>
                    <a:pt x="58" y="40"/>
                    <a:pt x="59" y="36"/>
                    <a:pt x="59" y="33"/>
                  </a:cubicBezTo>
                  <a:cubicBezTo>
                    <a:pt x="59" y="19"/>
                    <a:pt x="48" y="8"/>
                    <a:pt x="34" y="8"/>
                  </a:cubicBezTo>
                  <a:cubicBezTo>
                    <a:pt x="20" y="8"/>
                    <a:pt x="9" y="19"/>
                    <a:pt x="9" y="33"/>
                  </a:cubicBezTo>
                  <a:cubicBezTo>
                    <a:pt x="9" y="35"/>
                    <a:pt x="7" y="37"/>
                    <a:pt x="4" y="37"/>
                  </a:cubicBezTo>
                  <a:cubicBezTo>
                    <a:pt x="2" y="37"/>
                    <a:pt x="0" y="35"/>
                    <a:pt x="0" y="33"/>
                  </a:cubicBezTo>
                  <a:cubicBezTo>
                    <a:pt x="0" y="15"/>
                    <a:pt x="15" y="0"/>
                    <a:pt x="34" y="0"/>
                  </a:cubicBezTo>
                  <a:cubicBezTo>
                    <a:pt x="52" y="0"/>
                    <a:pt x="67" y="15"/>
                    <a:pt x="67" y="33"/>
                  </a:cubicBezTo>
                  <a:cubicBezTo>
                    <a:pt x="67" y="37"/>
                    <a:pt x="66" y="42"/>
                    <a:pt x="65" y="46"/>
                  </a:cubicBezTo>
                  <a:cubicBezTo>
                    <a:pt x="64" y="48"/>
                    <a:pt x="62" y="48"/>
                    <a:pt x="61" y="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5" name="Freeform 50">
              <a:extLst>
                <a:ext uri="{FF2B5EF4-FFF2-40B4-BE49-F238E27FC236}">
                  <a16:creationId xmlns:a16="http://schemas.microsoft.com/office/drawing/2014/main" id="{4C798EB6-FE4B-1C74-93FE-21D9AA967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20114" y="2890922"/>
              <a:ext cx="171207" cy="126368"/>
            </a:xfrm>
            <a:custGeom>
              <a:avLst/>
              <a:gdLst>
                <a:gd name="T0" fmla="*/ 34 w 67"/>
                <a:gd name="T1" fmla="*/ 50 h 50"/>
                <a:gd name="T2" fmla="*/ 0 w 67"/>
                <a:gd name="T3" fmla="*/ 16 h 50"/>
                <a:gd name="T4" fmla="*/ 4 w 67"/>
                <a:gd name="T5" fmla="*/ 12 h 50"/>
                <a:gd name="T6" fmla="*/ 9 w 67"/>
                <a:gd name="T7" fmla="*/ 16 h 50"/>
                <a:gd name="T8" fmla="*/ 34 w 67"/>
                <a:gd name="T9" fmla="*/ 42 h 50"/>
                <a:gd name="T10" fmla="*/ 59 w 67"/>
                <a:gd name="T11" fmla="*/ 16 h 50"/>
                <a:gd name="T12" fmla="*/ 57 w 67"/>
                <a:gd name="T13" fmla="*/ 7 h 50"/>
                <a:gd name="T14" fmla="*/ 59 w 67"/>
                <a:gd name="T15" fmla="*/ 1 h 50"/>
                <a:gd name="T16" fmla="*/ 65 w 67"/>
                <a:gd name="T17" fmla="*/ 3 h 50"/>
                <a:gd name="T18" fmla="*/ 67 w 67"/>
                <a:gd name="T19" fmla="*/ 16 h 50"/>
                <a:gd name="T20" fmla="*/ 34 w 67"/>
                <a:gd name="T21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7" h="50">
                  <a:moveTo>
                    <a:pt x="34" y="50"/>
                  </a:moveTo>
                  <a:cubicBezTo>
                    <a:pt x="15" y="50"/>
                    <a:pt x="0" y="35"/>
                    <a:pt x="0" y="16"/>
                  </a:cubicBezTo>
                  <a:cubicBezTo>
                    <a:pt x="0" y="14"/>
                    <a:pt x="2" y="12"/>
                    <a:pt x="4" y="12"/>
                  </a:cubicBezTo>
                  <a:cubicBezTo>
                    <a:pt x="7" y="12"/>
                    <a:pt x="9" y="14"/>
                    <a:pt x="9" y="16"/>
                  </a:cubicBezTo>
                  <a:cubicBezTo>
                    <a:pt x="9" y="30"/>
                    <a:pt x="20" y="42"/>
                    <a:pt x="34" y="42"/>
                  </a:cubicBezTo>
                  <a:cubicBezTo>
                    <a:pt x="48" y="42"/>
                    <a:pt x="59" y="30"/>
                    <a:pt x="59" y="16"/>
                  </a:cubicBezTo>
                  <a:cubicBezTo>
                    <a:pt x="59" y="13"/>
                    <a:pt x="58" y="10"/>
                    <a:pt x="57" y="7"/>
                  </a:cubicBezTo>
                  <a:cubicBezTo>
                    <a:pt x="56" y="5"/>
                    <a:pt x="57" y="2"/>
                    <a:pt x="59" y="1"/>
                  </a:cubicBezTo>
                  <a:cubicBezTo>
                    <a:pt x="61" y="0"/>
                    <a:pt x="64" y="1"/>
                    <a:pt x="65" y="3"/>
                  </a:cubicBezTo>
                  <a:cubicBezTo>
                    <a:pt x="66" y="8"/>
                    <a:pt x="67" y="12"/>
                    <a:pt x="67" y="16"/>
                  </a:cubicBezTo>
                  <a:cubicBezTo>
                    <a:pt x="67" y="35"/>
                    <a:pt x="52" y="50"/>
                    <a:pt x="34" y="5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6" name="Freeform 51">
              <a:extLst>
                <a:ext uri="{FF2B5EF4-FFF2-40B4-BE49-F238E27FC236}">
                  <a16:creationId xmlns:a16="http://schemas.microsoft.com/office/drawing/2014/main" id="{AB4D939C-778B-1B18-674F-6E120DB5889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69291" y="2703410"/>
              <a:ext cx="163054" cy="248658"/>
            </a:xfrm>
            <a:custGeom>
              <a:avLst/>
              <a:gdLst>
                <a:gd name="T0" fmla="*/ 4 w 65"/>
                <a:gd name="T1" fmla="*/ 99 h 99"/>
                <a:gd name="T2" fmla="*/ 0 w 65"/>
                <a:gd name="T3" fmla="*/ 95 h 99"/>
                <a:gd name="T4" fmla="*/ 4 w 65"/>
                <a:gd name="T5" fmla="*/ 91 h 99"/>
                <a:gd name="T6" fmla="*/ 55 w 65"/>
                <a:gd name="T7" fmla="*/ 32 h 99"/>
                <a:gd name="T8" fmla="*/ 47 w 65"/>
                <a:gd name="T9" fmla="*/ 7 h 99"/>
                <a:gd name="T10" fmla="*/ 49 w 65"/>
                <a:gd name="T11" fmla="*/ 1 h 99"/>
                <a:gd name="T12" fmla="*/ 54 w 65"/>
                <a:gd name="T13" fmla="*/ 2 h 99"/>
                <a:gd name="T14" fmla="*/ 63 w 65"/>
                <a:gd name="T15" fmla="*/ 31 h 99"/>
                <a:gd name="T16" fmla="*/ 48 w 65"/>
                <a:gd name="T17" fmla="*/ 77 h 99"/>
                <a:gd name="T18" fmla="*/ 4 w 65"/>
                <a:gd name="T19" fmla="*/ 99 h 99"/>
                <a:gd name="T20" fmla="*/ 4 w 65"/>
                <a:gd name="T21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5" h="99">
                  <a:moveTo>
                    <a:pt x="4" y="99"/>
                  </a:moveTo>
                  <a:cubicBezTo>
                    <a:pt x="2" y="99"/>
                    <a:pt x="0" y="98"/>
                    <a:pt x="0" y="95"/>
                  </a:cubicBezTo>
                  <a:cubicBezTo>
                    <a:pt x="0" y="93"/>
                    <a:pt x="2" y="91"/>
                    <a:pt x="4" y="91"/>
                  </a:cubicBezTo>
                  <a:cubicBezTo>
                    <a:pt x="34" y="89"/>
                    <a:pt x="57" y="62"/>
                    <a:pt x="55" y="32"/>
                  </a:cubicBezTo>
                  <a:cubicBezTo>
                    <a:pt x="55" y="23"/>
                    <a:pt x="52" y="14"/>
                    <a:pt x="47" y="7"/>
                  </a:cubicBezTo>
                  <a:cubicBezTo>
                    <a:pt x="46" y="5"/>
                    <a:pt x="47" y="2"/>
                    <a:pt x="49" y="1"/>
                  </a:cubicBezTo>
                  <a:cubicBezTo>
                    <a:pt x="50" y="0"/>
                    <a:pt x="53" y="0"/>
                    <a:pt x="54" y="2"/>
                  </a:cubicBezTo>
                  <a:cubicBezTo>
                    <a:pt x="59" y="11"/>
                    <a:pt x="63" y="21"/>
                    <a:pt x="63" y="31"/>
                  </a:cubicBezTo>
                  <a:cubicBezTo>
                    <a:pt x="65" y="48"/>
                    <a:pt x="59" y="64"/>
                    <a:pt x="48" y="77"/>
                  </a:cubicBezTo>
                  <a:cubicBezTo>
                    <a:pt x="37" y="90"/>
                    <a:pt x="21" y="98"/>
                    <a:pt x="4" y="99"/>
                  </a:cubicBezTo>
                  <a:cubicBezTo>
                    <a:pt x="4" y="99"/>
                    <a:pt x="4" y="99"/>
                    <a:pt x="4" y="9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7" name="Freeform 52">
              <a:extLst>
                <a:ext uri="{FF2B5EF4-FFF2-40B4-BE49-F238E27FC236}">
                  <a16:creationId xmlns:a16="http://schemas.microsoft.com/office/drawing/2014/main" id="{3BAAEBFC-AD59-E6D7-5571-FC74BB4CC3C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69291" y="2466982"/>
              <a:ext cx="126368" cy="150826"/>
            </a:xfrm>
            <a:custGeom>
              <a:avLst/>
              <a:gdLst>
                <a:gd name="T0" fmla="*/ 37 w 50"/>
                <a:gd name="T1" fmla="*/ 59 h 59"/>
                <a:gd name="T2" fmla="*/ 35 w 50"/>
                <a:gd name="T3" fmla="*/ 59 h 59"/>
                <a:gd name="T4" fmla="*/ 33 w 50"/>
                <a:gd name="T5" fmla="*/ 53 h 59"/>
                <a:gd name="T6" fmla="*/ 18 w 50"/>
                <a:gd name="T7" fmla="*/ 12 h 59"/>
                <a:gd name="T8" fmla="*/ 4 w 50"/>
                <a:gd name="T9" fmla="*/ 9 h 59"/>
                <a:gd name="T10" fmla="*/ 0 w 50"/>
                <a:gd name="T11" fmla="*/ 5 h 59"/>
                <a:gd name="T12" fmla="*/ 4 w 50"/>
                <a:gd name="T13" fmla="*/ 0 h 59"/>
                <a:gd name="T14" fmla="*/ 22 w 50"/>
                <a:gd name="T15" fmla="*/ 4 h 59"/>
                <a:gd name="T16" fmla="*/ 41 w 50"/>
                <a:gd name="T17" fmla="*/ 57 h 59"/>
                <a:gd name="T18" fmla="*/ 37 w 50"/>
                <a:gd name="T19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9">
                  <a:moveTo>
                    <a:pt x="37" y="59"/>
                  </a:moveTo>
                  <a:cubicBezTo>
                    <a:pt x="36" y="59"/>
                    <a:pt x="36" y="59"/>
                    <a:pt x="35" y="59"/>
                  </a:cubicBezTo>
                  <a:cubicBezTo>
                    <a:pt x="33" y="58"/>
                    <a:pt x="32" y="56"/>
                    <a:pt x="33" y="53"/>
                  </a:cubicBezTo>
                  <a:cubicBezTo>
                    <a:pt x="41" y="38"/>
                    <a:pt x="34" y="19"/>
                    <a:pt x="18" y="12"/>
                  </a:cubicBezTo>
                  <a:cubicBezTo>
                    <a:pt x="14" y="10"/>
                    <a:pt x="9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1" y="1"/>
                    <a:pt x="4" y="0"/>
                  </a:cubicBezTo>
                  <a:cubicBezTo>
                    <a:pt x="10" y="0"/>
                    <a:pt x="16" y="2"/>
                    <a:pt x="22" y="4"/>
                  </a:cubicBezTo>
                  <a:cubicBezTo>
                    <a:pt x="42" y="14"/>
                    <a:pt x="50" y="37"/>
                    <a:pt x="41" y="57"/>
                  </a:cubicBezTo>
                  <a:cubicBezTo>
                    <a:pt x="40" y="59"/>
                    <a:pt x="38" y="59"/>
                    <a:pt x="37" y="5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8" name="Freeform 53">
              <a:extLst>
                <a:ext uri="{FF2B5EF4-FFF2-40B4-BE49-F238E27FC236}">
                  <a16:creationId xmlns:a16="http://schemas.microsoft.com/office/drawing/2014/main" id="{58EEEBA2-4F00-87D5-826D-3DDEC83ED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275534" y="2560739"/>
              <a:ext cx="57069" cy="195665"/>
            </a:xfrm>
            <a:custGeom>
              <a:avLst/>
              <a:gdLst>
                <a:gd name="T0" fmla="*/ 5 w 23"/>
                <a:gd name="T1" fmla="*/ 78 h 78"/>
                <a:gd name="T2" fmla="*/ 2 w 23"/>
                <a:gd name="T3" fmla="*/ 77 h 78"/>
                <a:gd name="T4" fmla="*/ 2 w 23"/>
                <a:gd name="T5" fmla="*/ 71 h 78"/>
                <a:gd name="T6" fmla="*/ 2 w 23"/>
                <a:gd name="T7" fmla="*/ 8 h 78"/>
                <a:gd name="T8" fmla="*/ 2 w 23"/>
                <a:gd name="T9" fmla="*/ 2 h 78"/>
                <a:gd name="T10" fmla="*/ 8 w 23"/>
                <a:gd name="T11" fmla="*/ 2 h 78"/>
                <a:gd name="T12" fmla="*/ 23 w 23"/>
                <a:gd name="T13" fmla="*/ 39 h 78"/>
                <a:gd name="T14" fmla="*/ 8 w 23"/>
                <a:gd name="T15" fmla="*/ 77 h 78"/>
                <a:gd name="T16" fmla="*/ 5 w 23"/>
                <a:gd name="T17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78">
                  <a:moveTo>
                    <a:pt x="5" y="78"/>
                  </a:moveTo>
                  <a:cubicBezTo>
                    <a:pt x="4" y="78"/>
                    <a:pt x="3" y="78"/>
                    <a:pt x="2" y="77"/>
                  </a:cubicBezTo>
                  <a:cubicBezTo>
                    <a:pt x="0" y="75"/>
                    <a:pt x="0" y="73"/>
                    <a:pt x="2" y="71"/>
                  </a:cubicBezTo>
                  <a:cubicBezTo>
                    <a:pt x="19" y="54"/>
                    <a:pt x="19" y="25"/>
                    <a:pt x="2" y="8"/>
                  </a:cubicBezTo>
                  <a:cubicBezTo>
                    <a:pt x="0" y="6"/>
                    <a:pt x="0" y="4"/>
                    <a:pt x="2" y="2"/>
                  </a:cubicBezTo>
                  <a:cubicBezTo>
                    <a:pt x="4" y="0"/>
                    <a:pt x="6" y="0"/>
                    <a:pt x="8" y="2"/>
                  </a:cubicBezTo>
                  <a:cubicBezTo>
                    <a:pt x="18" y="12"/>
                    <a:pt x="23" y="25"/>
                    <a:pt x="23" y="39"/>
                  </a:cubicBezTo>
                  <a:cubicBezTo>
                    <a:pt x="23" y="54"/>
                    <a:pt x="18" y="67"/>
                    <a:pt x="8" y="77"/>
                  </a:cubicBezTo>
                  <a:cubicBezTo>
                    <a:pt x="7" y="78"/>
                    <a:pt x="6" y="78"/>
                    <a:pt x="5" y="7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9" name="Freeform 54">
              <a:extLst>
                <a:ext uri="{FF2B5EF4-FFF2-40B4-BE49-F238E27FC236}">
                  <a16:creationId xmlns:a16="http://schemas.microsoft.com/office/drawing/2014/main" id="{30519124-6436-941B-7D15-7746399BC766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20114" y="2487365"/>
              <a:ext cx="24458" cy="456551"/>
            </a:xfrm>
            <a:custGeom>
              <a:avLst/>
              <a:gdLst>
                <a:gd name="T0" fmla="*/ 4 w 9"/>
                <a:gd name="T1" fmla="*/ 182 h 182"/>
                <a:gd name="T2" fmla="*/ 0 w 9"/>
                <a:gd name="T3" fmla="*/ 178 h 182"/>
                <a:gd name="T4" fmla="*/ 0 w 9"/>
                <a:gd name="T5" fmla="*/ 4 h 182"/>
                <a:gd name="T6" fmla="*/ 4 w 9"/>
                <a:gd name="T7" fmla="*/ 0 h 182"/>
                <a:gd name="T8" fmla="*/ 9 w 9"/>
                <a:gd name="T9" fmla="*/ 4 h 182"/>
                <a:gd name="T10" fmla="*/ 9 w 9"/>
                <a:gd name="T11" fmla="*/ 178 h 182"/>
                <a:gd name="T12" fmla="*/ 4 w 9"/>
                <a:gd name="T13" fmla="*/ 182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82">
                  <a:moveTo>
                    <a:pt x="4" y="182"/>
                  </a:moveTo>
                  <a:cubicBezTo>
                    <a:pt x="2" y="182"/>
                    <a:pt x="0" y="180"/>
                    <a:pt x="0" y="17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178"/>
                    <a:pt x="9" y="178"/>
                    <a:pt x="9" y="178"/>
                  </a:cubicBezTo>
                  <a:cubicBezTo>
                    <a:pt x="9" y="180"/>
                    <a:pt x="7" y="182"/>
                    <a:pt x="4" y="18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0" name="Freeform 55">
              <a:extLst>
                <a:ext uri="{FF2B5EF4-FFF2-40B4-BE49-F238E27FC236}">
                  <a16:creationId xmlns:a16="http://schemas.microsoft.com/office/drawing/2014/main" id="{55631E4E-842A-DF41-07E8-1F2890B3A795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46740" y="2544434"/>
              <a:ext cx="44841" cy="134521"/>
            </a:xfrm>
            <a:custGeom>
              <a:avLst/>
              <a:gdLst>
                <a:gd name="T0" fmla="*/ 5 w 18"/>
                <a:gd name="T1" fmla="*/ 54 h 54"/>
                <a:gd name="T2" fmla="*/ 2 w 18"/>
                <a:gd name="T3" fmla="*/ 53 h 54"/>
                <a:gd name="T4" fmla="*/ 2 w 18"/>
                <a:gd name="T5" fmla="*/ 47 h 54"/>
                <a:gd name="T6" fmla="*/ 10 w 18"/>
                <a:gd name="T7" fmla="*/ 27 h 54"/>
                <a:gd name="T8" fmla="*/ 2 w 18"/>
                <a:gd name="T9" fmla="*/ 7 h 54"/>
                <a:gd name="T10" fmla="*/ 2 w 18"/>
                <a:gd name="T11" fmla="*/ 1 h 54"/>
                <a:gd name="T12" fmla="*/ 8 w 18"/>
                <a:gd name="T13" fmla="*/ 1 h 54"/>
                <a:gd name="T14" fmla="*/ 18 w 18"/>
                <a:gd name="T15" fmla="*/ 27 h 54"/>
                <a:gd name="T16" fmla="*/ 8 w 18"/>
                <a:gd name="T17" fmla="*/ 53 h 54"/>
                <a:gd name="T18" fmla="*/ 5 w 18"/>
                <a:gd name="T19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54">
                  <a:moveTo>
                    <a:pt x="5" y="54"/>
                  </a:moveTo>
                  <a:cubicBezTo>
                    <a:pt x="4" y="54"/>
                    <a:pt x="3" y="53"/>
                    <a:pt x="2" y="53"/>
                  </a:cubicBezTo>
                  <a:cubicBezTo>
                    <a:pt x="0" y="51"/>
                    <a:pt x="0" y="48"/>
                    <a:pt x="2" y="47"/>
                  </a:cubicBezTo>
                  <a:cubicBezTo>
                    <a:pt x="7" y="41"/>
                    <a:pt x="10" y="34"/>
                    <a:pt x="10" y="27"/>
                  </a:cubicBezTo>
                  <a:cubicBezTo>
                    <a:pt x="10" y="19"/>
                    <a:pt x="7" y="12"/>
                    <a:pt x="2" y="7"/>
                  </a:cubicBezTo>
                  <a:cubicBezTo>
                    <a:pt x="0" y="5"/>
                    <a:pt x="0" y="3"/>
                    <a:pt x="2" y="1"/>
                  </a:cubicBezTo>
                  <a:cubicBezTo>
                    <a:pt x="3" y="0"/>
                    <a:pt x="6" y="0"/>
                    <a:pt x="8" y="1"/>
                  </a:cubicBezTo>
                  <a:cubicBezTo>
                    <a:pt x="15" y="8"/>
                    <a:pt x="18" y="17"/>
                    <a:pt x="18" y="27"/>
                  </a:cubicBezTo>
                  <a:cubicBezTo>
                    <a:pt x="18" y="37"/>
                    <a:pt x="15" y="46"/>
                    <a:pt x="8" y="53"/>
                  </a:cubicBezTo>
                  <a:cubicBezTo>
                    <a:pt x="7" y="53"/>
                    <a:pt x="6" y="54"/>
                    <a:pt x="5" y="5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1" name="Freeform 56">
              <a:extLst>
                <a:ext uri="{FF2B5EF4-FFF2-40B4-BE49-F238E27FC236}">
                  <a16:creationId xmlns:a16="http://schemas.microsoft.com/office/drawing/2014/main" id="{8B179422-7918-59F9-301B-DA3E37192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14129" y="2597425"/>
              <a:ext cx="57069" cy="77452"/>
            </a:xfrm>
            <a:custGeom>
              <a:avLst/>
              <a:gdLst>
                <a:gd name="T0" fmla="*/ 18 w 23"/>
                <a:gd name="T1" fmla="*/ 31 h 31"/>
                <a:gd name="T2" fmla="*/ 14 w 23"/>
                <a:gd name="T3" fmla="*/ 27 h 31"/>
                <a:gd name="T4" fmla="*/ 4 w 23"/>
                <a:gd name="T5" fmla="*/ 9 h 31"/>
                <a:gd name="T6" fmla="*/ 0 w 23"/>
                <a:gd name="T7" fmla="*/ 4 h 31"/>
                <a:gd name="T8" fmla="*/ 5 w 23"/>
                <a:gd name="T9" fmla="*/ 1 h 31"/>
                <a:gd name="T10" fmla="*/ 22 w 23"/>
                <a:gd name="T11" fmla="*/ 26 h 31"/>
                <a:gd name="T12" fmla="*/ 19 w 23"/>
                <a:gd name="T13" fmla="*/ 31 h 31"/>
                <a:gd name="T14" fmla="*/ 18 w 23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31">
                  <a:moveTo>
                    <a:pt x="18" y="31"/>
                  </a:moveTo>
                  <a:cubicBezTo>
                    <a:pt x="16" y="31"/>
                    <a:pt x="14" y="29"/>
                    <a:pt x="14" y="27"/>
                  </a:cubicBezTo>
                  <a:cubicBezTo>
                    <a:pt x="12" y="11"/>
                    <a:pt x="4" y="9"/>
                    <a:pt x="4" y="9"/>
                  </a:cubicBezTo>
                  <a:cubicBezTo>
                    <a:pt x="1" y="8"/>
                    <a:pt x="0" y="6"/>
                    <a:pt x="0" y="4"/>
                  </a:cubicBezTo>
                  <a:cubicBezTo>
                    <a:pt x="1" y="2"/>
                    <a:pt x="3" y="0"/>
                    <a:pt x="5" y="1"/>
                  </a:cubicBezTo>
                  <a:cubicBezTo>
                    <a:pt x="6" y="1"/>
                    <a:pt x="20" y="4"/>
                    <a:pt x="22" y="26"/>
                  </a:cubicBezTo>
                  <a:cubicBezTo>
                    <a:pt x="23" y="29"/>
                    <a:pt x="21" y="31"/>
                    <a:pt x="19" y="31"/>
                  </a:cubicBezTo>
                  <a:cubicBezTo>
                    <a:pt x="18" y="31"/>
                    <a:pt x="18" y="31"/>
                    <a:pt x="18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2" name="Freeform 57">
              <a:extLst>
                <a:ext uri="{FF2B5EF4-FFF2-40B4-BE49-F238E27FC236}">
                  <a16:creationId xmlns:a16="http://schemas.microsoft.com/office/drawing/2014/main" id="{1554D153-A5BB-7C48-2DEA-56C826070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73366" y="2768632"/>
              <a:ext cx="52994" cy="97832"/>
            </a:xfrm>
            <a:custGeom>
              <a:avLst/>
              <a:gdLst>
                <a:gd name="T0" fmla="*/ 5 w 21"/>
                <a:gd name="T1" fmla="*/ 38 h 38"/>
                <a:gd name="T2" fmla="*/ 1 w 21"/>
                <a:gd name="T3" fmla="*/ 36 h 38"/>
                <a:gd name="T4" fmla="*/ 3 w 21"/>
                <a:gd name="T5" fmla="*/ 30 h 38"/>
                <a:gd name="T6" fmla="*/ 11 w 21"/>
                <a:gd name="T7" fmla="*/ 20 h 38"/>
                <a:gd name="T8" fmla="*/ 10 w 21"/>
                <a:gd name="T9" fmla="*/ 7 h 38"/>
                <a:gd name="T10" fmla="*/ 12 w 21"/>
                <a:gd name="T11" fmla="*/ 1 h 38"/>
                <a:gd name="T12" fmla="*/ 17 w 21"/>
                <a:gd name="T13" fmla="*/ 3 h 38"/>
                <a:gd name="T14" fmla="*/ 19 w 21"/>
                <a:gd name="T15" fmla="*/ 22 h 38"/>
                <a:gd name="T16" fmla="*/ 7 w 21"/>
                <a:gd name="T17" fmla="*/ 38 h 38"/>
                <a:gd name="T18" fmla="*/ 5 w 21"/>
                <a:gd name="T19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8">
                  <a:moveTo>
                    <a:pt x="5" y="38"/>
                  </a:moveTo>
                  <a:cubicBezTo>
                    <a:pt x="3" y="38"/>
                    <a:pt x="2" y="37"/>
                    <a:pt x="1" y="36"/>
                  </a:cubicBezTo>
                  <a:cubicBezTo>
                    <a:pt x="0" y="34"/>
                    <a:pt x="1" y="31"/>
                    <a:pt x="3" y="30"/>
                  </a:cubicBezTo>
                  <a:cubicBezTo>
                    <a:pt x="7" y="28"/>
                    <a:pt x="10" y="24"/>
                    <a:pt x="11" y="20"/>
                  </a:cubicBezTo>
                  <a:cubicBezTo>
                    <a:pt x="13" y="16"/>
                    <a:pt x="12" y="11"/>
                    <a:pt x="10" y="7"/>
                  </a:cubicBezTo>
                  <a:cubicBezTo>
                    <a:pt x="9" y="5"/>
                    <a:pt x="10" y="2"/>
                    <a:pt x="12" y="1"/>
                  </a:cubicBezTo>
                  <a:cubicBezTo>
                    <a:pt x="14" y="0"/>
                    <a:pt x="16" y="1"/>
                    <a:pt x="17" y="3"/>
                  </a:cubicBezTo>
                  <a:cubicBezTo>
                    <a:pt x="21" y="9"/>
                    <a:pt x="21" y="16"/>
                    <a:pt x="19" y="22"/>
                  </a:cubicBezTo>
                  <a:cubicBezTo>
                    <a:pt x="17" y="29"/>
                    <a:pt x="13" y="34"/>
                    <a:pt x="7" y="38"/>
                  </a:cubicBezTo>
                  <a:cubicBezTo>
                    <a:pt x="6" y="38"/>
                    <a:pt x="5" y="38"/>
                    <a:pt x="5" y="3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3" name="Freeform 58">
              <a:extLst>
                <a:ext uri="{FF2B5EF4-FFF2-40B4-BE49-F238E27FC236}">
                  <a16:creationId xmlns:a16="http://schemas.microsoft.com/office/drawing/2014/main" id="{7D3BB6BF-30B3-8C45-0645-2D6C2E12EA23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40755" y="2784937"/>
              <a:ext cx="52994" cy="48916"/>
            </a:xfrm>
            <a:custGeom>
              <a:avLst/>
              <a:gdLst>
                <a:gd name="T0" fmla="*/ 5 w 22"/>
                <a:gd name="T1" fmla="*/ 20 h 20"/>
                <a:gd name="T2" fmla="*/ 4 w 22"/>
                <a:gd name="T3" fmla="*/ 20 h 20"/>
                <a:gd name="T4" fmla="*/ 1 w 22"/>
                <a:gd name="T5" fmla="*/ 15 h 20"/>
                <a:gd name="T6" fmla="*/ 5 w 22"/>
                <a:gd name="T7" fmla="*/ 12 h 20"/>
                <a:gd name="T8" fmla="*/ 14 w 22"/>
                <a:gd name="T9" fmla="*/ 3 h 20"/>
                <a:gd name="T10" fmla="*/ 19 w 22"/>
                <a:gd name="T11" fmla="*/ 0 h 20"/>
                <a:gd name="T12" fmla="*/ 22 w 22"/>
                <a:gd name="T13" fmla="*/ 6 h 20"/>
                <a:gd name="T14" fmla="*/ 5 w 22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0">
                  <a:moveTo>
                    <a:pt x="5" y="20"/>
                  </a:moveTo>
                  <a:cubicBezTo>
                    <a:pt x="4" y="20"/>
                    <a:pt x="4" y="20"/>
                    <a:pt x="4" y="20"/>
                  </a:cubicBezTo>
                  <a:cubicBezTo>
                    <a:pt x="2" y="20"/>
                    <a:pt x="0" y="17"/>
                    <a:pt x="1" y="15"/>
                  </a:cubicBezTo>
                  <a:cubicBezTo>
                    <a:pt x="1" y="13"/>
                    <a:pt x="3" y="11"/>
                    <a:pt x="5" y="12"/>
                  </a:cubicBezTo>
                  <a:cubicBezTo>
                    <a:pt x="5" y="12"/>
                    <a:pt x="10" y="11"/>
                    <a:pt x="14" y="3"/>
                  </a:cubicBezTo>
                  <a:cubicBezTo>
                    <a:pt x="15" y="1"/>
                    <a:pt x="17" y="0"/>
                    <a:pt x="19" y="0"/>
                  </a:cubicBezTo>
                  <a:cubicBezTo>
                    <a:pt x="21" y="1"/>
                    <a:pt x="22" y="4"/>
                    <a:pt x="22" y="6"/>
                  </a:cubicBezTo>
                  <a:cubicBezTo>
                    <a:pt x="16" y="19"/>
                    <a:pt x="7" y="20"/>
                    <a:pt x="5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4" name="Freeform 59">
              <a:extLst>
                <a:ext uri="{FF2B5EF4-FFF2-40B4-BE49-F238E27FC236}">
                  <a16:creationId xmlns:a16="http://schemas.microsoft.com/office/drawing/2014/main" id="{A7657099-FF46-97E7-EA10-60863A313945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40755" y="2650419"/>
              <a:ext cx="57069" cy="81527"/>
            </a:xfrm>
            <a:custGeom>
              <a:avLst/>
              <a:gdLst>
                <a:gd name="T0" fmla="*/ 5 w 23"/>
                <a:gd name="T1" fmla="*/ 33 h 33"/>
                <a:gd name="T2" fmla="*/ 1 w 23"/>
                <a:gd name="T3" fmla="*/ 31 h 33"/>
                <a:gd name="T4" fmla="*/ 3 w 23"/>
                <a:gd name="T5" fmla="*/ 26 h 33"/>
                <a:gd name="T6" fmla="*/ 10 w 23"/>
                <a:gd name="T7" fmla="*/ 6 h 33"/>
                <a:gd name="T8" fmla="*/ 11 w 23"/>
                <a:gd name="T9" fmla="*/ 1 h 33"/>
                <a:gd name="T10" fmla="*/ 17 w 23"/>
                <a:gd name="T11" fmla="*/ 3 h 33"/>
                <a:gd name="T12" fmla="*/ 7 w 23"/>
                <a:gd name="T13" fmla="*/ 33 h 33"/>
                <a:gd name="T14" fmla="*/ 5 w 23"/>
                <a:gd name="T15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33">
                  <a:moveTo>
                    <a:pt x="5" y="33"/>
                  </a:moveTo>
                  <a:cubicBezTo>
                    <a:pt x="4" y="33"/>
                    <a:pt x="2" y="32"/>
                    <a:pt x="1" y="31"/>
                  </a:cubicBezTo>
                  <a:cubicBezTo>
                    <a:pt x="0" y="29"/>
                    <a:pt x="1" y="27"/>
                    <a:pt x="3" y="26"/>
                  </a:cubicBezTo>
                  <a:cubicBezTo>
                    <a:pt x="15" y="18"/>
                    <a:pt x="10" y="8"/>
                    <a:pt x="10" y="6"/>
                  </a:cubicBezTo>
                  <a:cubicBezTo>
                    <a:pt x="9" y="4"/>
                    <a:pt x="9" y="2"/>
                    <a:pt x="11" y="1"/>
                  </a:cubicBezTo>
                  <a:cubicBezTo>
                    <a:pt x="13" y="0"/>
                    <a:pt x="16" y="1"/>
                    <a:pt x="17" y="3"/>
                  </a:cubicBezTo>
                  <a:cubicBezTo>
                    <a:pt x="20" y="9"/>
                    <a:pt x="23" y="24"/>
                    <a:pt x="7" y="33"/>
                  </a:cubicBezTo>
                  <a:cubicBezTo>
                    <a:pt x="6" y="33"/>
                    <a:pt x="6" y="33"/>
                    <a:pt x="5" y="3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5" name="Freeform 60">
              <a:extLst>
                <a:ext uri="{FF2B5EF4-FFF2-40B4-BE49-F238E27FC236}">
                  <a16:creationId xmlns:a16="http://schemas.microsoft.com/office/drawing/2014/main" id="{7C07EC89-10C3-7C2E-A22D-B10D1A8C3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42665" y="2740099"/>
              <a:ext cx="61147" cy="81527"/>
            </a:xfrm>
            <a:custGeom>
              <a:avLst/>
              <a:gdLst>
                <a:gd name="T0" fmla="*/ 20 w 25"/>
                <a:gd name="T1" fmla="*/ 32 h 32"/>
                <a:gd name="T2" fmla="*/ 19 w 25"/>
                <a:gd name="T3" fmla="*/ 32 h 32"/>
                <a:gd name="T4" fmla="*/ 5 w 25"/>
                <a:gd name="T5" fmla="*/ 4 h 32"/>
                <a:gd name="T6" fmla="*/ 10 w 25"/>
                <a:gd name="T7" fmla="*/ 1 h 32"/>
                <a:gd name="T8" fmla="*/ 13 w 25"/>
                <a:gd name="T9" fmla="*/ 6 h 32"/>
                <a:gd name="T10" fmla="*/ 21 w 25"/>
                <a:gd name="T11" fmla="*/ 24 h 32"/>
                <a:gd name="T12" fmla="*/ 24 w 25"/>
                <a:gd name="T13" fmla="*/ 29 h 32"/>
                <a:gd name="T14" fmla="*/ 20 w 25"/>
                <a:gd name="T1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32">
                  <a:moveTo>
                    <a:pt x="20" y="32"/>
                  </a:moveTo>
                  <a:cubicBezTo>
                    <a:pt x="20" y="32"/>
                    <a:pt x="19" y="32"/>
                    <a:pt x="19" y="32"/>
                  </a:cubicBezTo>
                  <a:cubicBezTo>
                    <a:pt x="12" y="30"/>
                    <a:pt x="0" y="21"/>
                    <a:pt x="5" y="4"/>
                  </a:cubicBezTo>
                  <a:cubicBezTo>
                    <a:pt x="5" y="2"/>
                    <a:pt x="7" y="0"/>
                    <a:pt x="10" y="1"/>
                  </a:cubicBezTo>
                  <a:cubicBezTo>
                    <a:pt x="12" y="1"/>
                    <a:pt x="13" y="4"/>
                    <a:pt x="13" y="6"/>
                  </a:cubicBezTo>
                  <a:cubicBezTo>
                    <a:pt x="9" y="20"/>
                    <a:pt x="20" y="24"/>
                    <a:pt x="21" y="24"/>
                  </a:cubicBezTo>
                  <a:cubicBezTo>
                    <a:pt x="23" y="25"/>
                    <a:pt x="25" y="27"/>
                    <a:pt x="24" y="29"/>
                  </a:cubicBezTo>
                  <a:cubicBezTo>
                    <a:pt x="23" y="31"/>
                    <a:pt x="22" y="32"/>
                    <a:pt x="20" y="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6" name="Freeform 61">
              <a:extLst>
                <a:ext uri="{FF2B5EF4-FFF2-40B4-BE49-F238E27FC236}">
                  <a16:creationId xmlns:a16="http://schemas.microsoft.com/office/drawing/2014/main" id="{C1CB120C-86E0-3896-BBD1-914689CEB953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15779" y="2890922"/>
              <a:ext cx="167132" cy="126368"/>
            </a:xfrm>
            <a:custGeom>
              <a:avLst/>
              <a:gdLst>
                <a:gd name="T0" fmla="*/ 34 w 67"/>
                <a:gd name="T1" fmla="*/ 50 h 50"/>
                <a:gd name="T2" fmla="*/ 0 w 67"/>
                <a:gd name="T3" fmla="*/ 16 h 50"/>
                <a:gd name="T4" fmla="*/ 3 w 67"/>
                <a:gd name="T5" fmla="*/ 3 h 50"/>
                <a:gd name="T6" fmla="*/ 8 w 67"/>
                <a:gd name="T7" fmla="*/ 1 h 50"/>
                <a:gd name="T8" fmla="*/ 11 w 67"/>
                <a:gd name="T9" fmla="*/ 7 h 50"/>
                <a:gd name="T10" fmla="*/ 9 w 67"/>
                <a:gd name="T11" fmla="*/ 16 h 50"/>
                <a:gd name="T12" fmla="*/ 34 w 67"/>
                <a:gd name="T13" fmla="*/ 42 h 50"/>
                <a:gd name="T14" fmla="*/ 59 w 67"/>
                <a:gd name="T15" fmla="*/ 16 h 50"/>
                <a:gd name="T16" fmla="*/ 63 w 67"/>
                <a:gd name="T17" fmla="*/ 12 h 50"/>
                <a:gd name="T18" fmla="*/ 67 w 67"/>
                <a:gd name="T19" fmla="*/ 16 h 50"/>
                <a:gd name="T20" fmla="*/ 34 w 67"/>
                <a:gd name="T21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7" h="50">
                  <a:moveTo>
                    <a:pt x="34" y="50"/>
                  </a:moveTo>
                  <a:cubicBezTo>
                    <a:pt x="15" y="50"/>
                    <a:pt x="0" y="35"/>
                    <a:pt x="0" y="16"/>
                  </a:cubicBezTo>
                  <a:cubicBezTo>
                    <a:pt x="0" y="12"/>
                    <a:pt x="1" y="8"/>
                    <a:pt x="3" y="3"/>
                  </a:cubicBezTo>
                  <a:cubicBezTo>
                    <a:pt x="4" y="1"/>
                    <a:pt x="6" y="0"/>
                    <a:pt x="8" y="1"/>
                  </a:cubicBezTo>
                  <a:cubicBezTo>
                    <a:pt x="11" y="2"/>
                    <a:pt x="12" y="5"/>
                    <a:pt x="11" y="7"/>
                  </a:cubicBezTo>
                  <a:cubicBezTo>
                    <a:pt x="9" y="10"/>
                    <a:pt x="9" y="13"/>
                    <a:pt x="9" y="16"/>
                  </a:cubicBezTo>
                  <a:cubicBezTo>
                    <a:pt x="9" y="30"/>
                    <a:pt x="20" y="42"/>
                    <a:pt x="34" y="42"/>
                  </a:cubicBezTo>
                  <a:cubicBezTo>
                    <a:pt x="48" y="42"/>
                    <a:pt x="59" y="30"/>
                    <a:pt x="59" y="16"/>
                  </a:cubicBezTo>
                  <a:cubicBezTo>
                    <a:pt x="59" y="14"/>
                    <a:pt x="61" y="12"/>
                    <a:pt x="63" y="12"/>
                  </a:cubicBezTo>
                  <a:cubicBezTo>
                    <a:pt x="65" y="12"/>
                    <a:pt x="67" y="14"/>
                    <a:pt x="67" y="16"/>
                  </a:cubicBezTo>
                  <a:cubicBezTo>
                    <a:pt x="67" y="35"/>
                    <a:pt x="52" y="50"/>
                    <a:pt x="34" y="5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7" name="Freeform 62">
              <a:extLst>
                <a:ext uri="{FF2B5EF4-FFF2-40B4-BE49-F238E27FC236}">
                  <a16:creationId xmlns:a16="http://schemas.microsoft.com/office/drawing/2014/main" id="{38B3BCAA-BBC0-88BD-8C34-2B7200C81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15779" y="2413991"/>
              <a:ext cx="167132" cy="118215"/>
            </a:xfrm>
            <a:custGeom>
              <a:avLst/>
              <a:gdLst>
                <a:gd name="T0" fmla="*/ 7 w 67"/>
                <a:gd name="T1" fmla="*/ 48 h 48"/>
                <a:gd name="T2" fmla="*/ 3 w 67"/>
                <a:gd name="T3" fmla="*/ 46 h 48"/>
                <a:gd name="T4" fmla="*/ 0 w 67"/>
                <a:gd name="T5" fmla="*/ 33 h 48"/>
                <a:gd name="T6" fmla="*/ 34 w 67"/>
                <a:gd name="T7" fmla="*/ 0 h 48"/>
                <a:gd name="T8" fmla="*/ 67 w 67"/>
                <a:gd name="T9" fmla="*/ 33 h 48"/>
                <a:gd name="T10" fmla="*/ 63 w 67"/>
                <a:gd name="T11" fmla="*/ 37 h 48"/>
                <a:gd name="T12" fmla="*/ 59 w 67"/>
                <a:gd name="T13" fmla="*/ 33 h 48"/>
                <a:gd name="T14" fmla="*/ 34 w 67"/>
                <a:gd name="T15" fmla="*/ 8 h 48"/>
                <a:gd name="T16" fmla="*/ 9 w 67"/>
                <a:gd name="T17" fmla="*/ 33 h 48"/>
                <a:gd name="T18" fmla="*/ 11 w 67"/>
                <a:gd name="T19" fmla="*/ 43 h 48"/>
                <a:gd name="T20" fmla="*/ 8 w 67"/>
                <a:gd name="T21" fmla="*/ 48 h 48"/>
                <a:gd name="T22" fmla="*/ 7 w 67"/>
                <a:gd name="T2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48">
                  <a:moveTo>
                    <a:pt x="7" y="48"/>
                  </a:moveTo>
                  <a:cubicBezTo>
                    <a:pt x="5" y="48"/>
                    <a:pt x="4" y="48"/>
                    <a:pt x="3" y="46"/>
                  </a:cubicBezTo>
                  <a:cubicBezTo>
                    <a:pt x="1" y="42"/>
                    <a:pt x="0" y="37"/>
                    <a:pt x="0" y="33"/>
                  </a:cubicBezTo>
                  <a:cubicBezTo>
                    <a:pt x="0" y="15"/>
                    <a:pt x="15" y="0"/>
                    <a:pt x="34" y="0"/>
                  </a:cubicBezTo>
                  <a:cubicBezTo>
                    <a:pt x="52" y="0"/>
                    <a:pt x="67" y="15"/>
                    <a:pt x="67" y="33"/>
                  </a:cubicBezTo>
                  <a:cubicBezTo>
                    <a:pt x="67" y="35"/>
                    <a:pt x="65" y="37"/>
                    <a:pt x="63" y="37"/>
                  </a:cubicBezTo>
                  <a:cubicBezTo>
                    <a:pt x="61" y="37"/>
                    <a:pt x="59" y="35"/>
                    <a:pt x="59" y="33"/>
                  </a:cubicBezTo>
                  <a:cubicBezTo>
                    <a:pt x="59" y="19"/>
                    <a:pt x="48" y="8"/>
                    <a:pt x="34" y="8"/>
                  </a:cubicBezTo>
                  <a:cubicBezTo>
                    <a:pt x="20" y="8"/>
                    <a:pt x="9" y="19"/>
                    <a:pt x="9" y="33"/>
                  </a:cubicBezTo>
                  <a:cubicBezTo>
                    <a:pt x="9" y="36"/>
                    <a:pt x="9" y="40"/>
                    <a:pt x="11" y="43"/>
                  </a:cubicBezTo>
                  <a:cubicBezTo>
                    <a:pt x="12" y="45"/>
                    <a:pt x="11" y="47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8" name="Freeform 63">
              <a:extLst>
                <a:ext uri="{FF2B5EF4-FFF2-40B4-BE49-F238E27FC236}">
                  <a16:creationId xmlns:a16="http://schemas.microsoft.com/office/drawing/2014/main" id="{F65EA37A-F0A3-8392-CCB3-47FAF4724076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62528" y="2475135"/>
              <a:ext cx="163054" cy="248658"/>
            </a:xfrm>
            <a:custGeom>
              <a:avLst/>
              <a:gdLst>
                <a:gd name="T0" fmla="*/ 14 w 65"/>
                <a:gd name="T1" fmla="*/ 99 h 99"/>
                <a:gd name="T2" fmla="*/ 10 w 65"/>
                <a:gd name="T3" fmla="*/ 97 h 99"/>
                <a:gd name="T4" fmla="*/ 1 w 65"/>
                <a:gd name="T5" fmla="*/ 68 h 99"/>
                <a:gd name="T6" fmla="*/ 17 w 65"/>
                <a:gd name="T7" fmla="*/ 22 h 99"/>
                <a:gd name="T8" fmla="*/ 60 w 65"/>
                <a:gd name="T9" fmla="*/ 0 h 99"/>
                <a:gd name="T10" fmla="*/ 65 w 65"/>
                <a:gd name="T11" fmla="*/ 4 h 99"/>
                <a:gd name="T12" fmla="*/ 61 w 65"/>
                <a:gd name="T13" fmla="*/ 9 h 99"/>
                <a:gd name="T14" fmla="*/ 9 w 65"/>
                <a:gd name="T15" fmla="*/ 68 h 99"/>
                <a:gd name="T16" fmla="*/ 17 w 65"/>
                <a:gd name="T17" fmla="*/ 93 h 99"/>
                <a:gd name="T18" fmla="*/ 16 w 65"/>
                <a:gd name="T19" fmla="*/ 99 h 99"/>
                <a:gd name="T20" fmla="*/ 14 w 65"/>
                <a:gd name="T21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5" h="99">
                  <a:moveTo>
                    <a:pt x="14" y="99"/>
                  </a:moveTo>
                  <a:cubicBezTo>
                    <a:pt x="13" y="99"/>
                    <a:pt x="11" y="98"/>
                    <a:pt x="10" y="97"/>
                  </a:cubicBezTo>
                  <a:cubicBezTo>
                    <a:pt x="5" y="89"/>
                    <a:pt x="2" y="79"/>
                    <a:pt x="1" y="68"/>
                  </a:cubicBezTo>
                  <a:cubicBezTo>
                    <a:pt x="0" y="52"/>
                    <a:pt x="5" y="35"/>
                    <a:pt x="17" y="22"/>
                  </a:cubicBezTo>
                  <a:cubicBezTo>
                    <a:pt x="28" y="9"/>
                    <a:pt x="43" y="2"/>
                    <a:pt x="60" y="0"/>
                  </a:cubicBezTo>
                  <a:cubicBezTo>
                    <a:pt x="62" y="0"/>
                    <a:pt x="64" y="2"/>
                    <a:pt x="65" y="4"/>
                  </a:cubicBezTo>
                  <a:cubicBezTo>
                    <a:pt x="65" y="6"/>
                    <a:pt x="63" y="8"/>
                    <a:pt x="61" y="9"/>
                  </a:cubicBezTo>
                  <a:cubicBezTo>
                    <a:pt x="30" y="11"/>
                    <a:pt x="7" y="37"/>
                    <a:pt x="9" y="68"/>
                  </a:cubicBezTo>
                  <a:cubicBezTo>
                    <a:pt x="10" y="77"/>
                    <a:pt x="13" y="85"/>
                    <a:pt x="17" y="93"/>
                  </a:cubicBezTo>
                  <a:cubicBezTo>
                    <a:pt x="19" y="95"/>
                    <a:pt x="18" y="97"/>
                    <a:pt x="16" y="99"/>
                  </a:cubicBezTo>
                  <a:cubicBezTo>
                    <a:pt x="15" y="99"/>
                    <a:pt x="15" y="99"/>
                    <a:pt x="14" y="9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9" name="Freeform 64">
              <a:extLst>
                <a:ext uri="{FF2B5EF4-FFF2-40B4-BE49-F238E27FC236}">
                  <a16:creationId xmlns:a16="http://schemas.microsoft.com/office/drawing/2014/main" id="{BB38A93E-164C-B5F5-0EF0-8EBC498177A0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21764" y="2809395"/>
              <a:ext cx="122290" cy="150826"/>
            </a:xfrm>
            <a:custGeom>
              <a:avLst/>
              <a:gdLst>
                <a:gd name="T0" fmla="*/ 45 w 50"/>
                <a:gd name="T1" fmla="*/ 60 h 60"/>
                <a:gd name="T2" fmla="*/ 28 w 50"/>
                <a:gd name="T3" fmla="*/ 56 h 60"/>
                <a:gd name="T4" fmla="*/ 9 w 50"/>
                <a:gd name="T5" fmla="*/ 3 h 60"/>
                <a:gd name="T6" fmla="*/ 15 w 50"/>
                <a:gd name="T7" fmla="*/ 1 h 60"/>
                <a:gd name="T8" fmla="*/ 17 w 50"/>
                <a:gd name="T9" fmla="*/ 7 h 60"/>
                <a:gd name="T10" fmla="*/ 31 w 50"/>
                <a:gd name="T11" fmla="*/ 49 h 60"/>
                <a:gd name="T12" fmla="*/ 46 w 50"/>
                <a:gd name="T13" fmla="*/ 52 h 60"/>
                <a:gd name="T14" fmla="*/ 50 w 50"/>
                <a:gd name="T15" fmla="*/ 56 h 60"/>
                <a:gd name="T16" fmla="*/ 46 w 50"/>
                <a:gd name="T17" fmla="*/ 60 h 60"/>
                <a:gd name="T18" fmla="*/ 45 w 50"/>
                <a:gd name="T19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60">
                  <a:moveTo>
                    <a:pt x="45" y="60"/>
                  </a:moveTo>
                  <a:cubicBezTo>
                    <a:pt x="39" y="60"/>
                    <a:pt x="33" y="59"/>
                    <a:pt x="28" y="56"/>
                  </a:cubicBezTo>
                  <a:cubicBezTo>
                    <a:pt x="8" y="47"/>
                    <a:pt x="0" y="23"/>
                    <a:pt x="9" y="3"/>
                  </a:cubicBezTo>
                  <a:cubicBezTo>
                    <a:pt x="10" y="1"/>
                    <a:pt x="13" y="0"/>
                    <a:pt x="15" y="1"/>
                  </a:cubicBezTo>
                  <a:cubicBezTo>
                    <a:pt x="17" y="2"/>
                    <a:pt x="18" y="5"/>
                    <a:pt x="17" y="7"/>
                  </a:cubicBezTo>
                  <a:cubicBezTo>
                    <a:pt x="9" y="22"/>
                    <a:pt x="16" y="41"/>
                    <a:pt x="31" y="49"/>
                  </a:cubicBezTo>
                  <a:cubicBezTo>
                    <a:pt x="36" y="51"/>
                    <a:pt x="41" y="52"/>
                    <a:pt x="46" y="52"/>
                  </a:cubicBezTo>
                  <a:cubicBezTo>
                    <a:pt x="48" y="52"/>
                    <a:pt x="50" y="53"/>
                    <a:pt x="50" y="56"/>
                  </a:cubicBezTo>
                  <a:cubicBezTo>
                    <a:pt x="50" y="58"/>
                    <a:pt x="48" y="60"/>
                    <a:pt x="46" y="60"/>
                  </a:cubicBezTo>
                  <a:cubicBezTo>
                    <a:pt x="45" y="60"/>
                    <a:pt x="45" y="60"/>
                    <a:pt x="45" y="6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0" name="Freeform 65">
              <a:extLst>
                <a:ext uri="{FF2B5EF4-FFF2-40B4-BE49-F238E27FC236}">
                  <a16:creationId xmlns:a16="http://schemas.microsoft.com/office/drawing/2014/main" id="{16A73833-BFE4-0306-9CC5-E4D6705A67E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62528" y="2670799"/>
              <a:ext cx="73374" cy="195665"/>
            </a:xfrm>
            <a:custGeom>
              <a:avLst/>
              <a:gdLst>
                <a:gd name="T0" fmla="*/ 24 w 28"/>
                <a:gd name="T1" fmla="*/ 78 h 78"/>
                <a:gd name="T2" fmla="*/ 21 w 28"/>
                <a:gd name="T3" fmla="*/ 76 h 78"/>
                <a:gd name="T4" fmla="*/ 21 w 28"/>
                <a:gd name="T5" fmla="*/ 2 h 78"/>
                <a:gd name="T6" fmla="*/ 27 w 28"/>
                <a:gd name="T7" fmla="*/ 2 h 78"/>
                <a:gd name="T8" fmla="*/ 27 w 28"/>
                <a:gd name="T9" fmla="*/ 7 h 78"/>
                <a:gd name="T10" fmla="*/ 27 w 28"/>
                <a:gd name="T11" fmla="*/ 71 h 78"/>
                <a:gd name="T12" fmla="*/ 27 w 28"/>
                <a:gd name="T13" fmla="*/ 76 h 78"/>
                <a:gd name="T14" fmla="*/ 24 w 28"/>
                <a:gd name="T1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78">
                  <a:moveTo>
                    <a:pt x="24" y="78"/>
                  </a:moveTo>
                  <a:cubicBezTo>
                    <a:pt x="23" y="78"/>
                    <a:pt x="22" y="77"/>
                    <a:pt x="21" y="76"/>
                  </a:cubicBezTo>
                  <a:cubicBezTo>
                    <a:pt x="0" y="56"/>
                    <a:pt x="0" y="22"/>
                    <a:pt x="21" y="2"/>
                  </a:cubicBezTo>
                  <a:cubicBezTo>
                    <a:pt x="22" y="0"/>
                    <a:pt x="25" y="0"/>
                    <a:pt x="27" y="2"/>
                  </a:cubicBezTo>
                  <a:cubicBezTo>
                    <a:pt x="28" y="3"/>
                    <a:pt x="28" y="6"/>
                    <a:pt x="27" y="7"/>
                  </a:cubicBezTo>
                  <a:cubicBezTo>
                    <a:pt x="9" y="25"/>
                    <a:pt x="9" y="53"/>
                    <a:pt x="27" y="71"/>
                  </a:cubicBezTo>
                  <a:cubicBezTo>
                    <a:pt x="28" y="72"/>
                    <a:pt x="28" y="75"/>
                    <a:pt x="27" y="76"/>
                  </a:cubicBezTo>
                  <a:cubicBezTo>
                    <a:pt x="26" y="77"/>
                    <a:pt x="25" y="78"/>
                    <a:pt x="24" y="7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1" name="Freeform 66">
              <a:extLst>
                <a:ext uri="{FF2B5EF4-FFF2-40B4-BE49-F238E27FC236}">
                  <a16:creationId xmlns:a16="http://schemas.microsoft.com/office/drawing/2014/main" id="{1B6CC15E-0879-5FB8-496F-2606450922AD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69031" y="2483288"/>
              <a:ext cx="20383" cy="460628"/>
            </a:xfrm>
            <a:custGeom>
              <a:avLst/>
              <a:gdLst>
                <a:gd name="T0" fmla="*/ 4 w 8"/>
                <a:gd name="T1" fmla="*/ 183 h 183"/>
                <a:gd name="T2" fmla="*/ 0 w 8"/>
                <a:gd name="T3" fmla="*/ 179 h 183"/>
                <a:gd name="T4" fmla="*/ 0 w 8"/>
                <a:gd name="T5" fmla="*/ 5 h 183"/>
                <a:gd name="T6" fmla="*/ 4 w 8"/>
                <a:gd name="T7" fmla="*/ 0 h 183"/>
                <a:gd name="T8" fmla="*/ 8 w 8"/>
                <a:gd name="T9" fmla="*/ 5 h 183"/>
                <a:gd name="T10" fmla="*/ 8 w 8"/>
                <a:gd name="T11" fmla="*/ 179 h 183"/>
                <a:gd name="T12" fmla="*/ 4 w 8"/>
                <a:gd name="T13" fmla="*/ 18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83">
                  <a:moveTo>
                    <a:pt x="4" y="183"/>
                  </a:moveTo>
                  <a:cubicBezTo>
                    <a:pt x="2" y="183"/>
                    <a:pt x="0" y="181"/>
                    <a:pt x="0" y="179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179"/>
                    <a:pt x="8" y="179"/>
                    <a:pt x="8" y="179"/>
                  </a:cubicBezTo>
                  <a:cubicBezTo>
                    <a:pt x="8" y="181"/>
                    <a:pt x="6" y="183"/>
                    <a:pt x="4" y="1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2" name="Freeform 67">
              <a:extLst>
                <a:ext uri="{FF2B5EF4-FFF2-40B4-BE49-F238E27FC236}">
                  <a16:creationId xmlns:a16="http://schemas.microsoft.com/office/drawing/2014/main" id="{E73E57DA-AE11-702D-6C34-3742FCFCA1D3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40237" y="2727868"/>
              <a:ext cx="57069" cy="138596"/>
            </a:xfrm>
            <a:custGeom>
              <a:avLst/>
              <a:gdLst>
                <a:gd name="T0" fmla="*/ 17 w 22"/>
                <a:gd name="T1" fmla="*/ 55 h 55"/>
                <a:gd name="T2" fmla="*/ 14 w 22"/>
                <a:gd name="T3" fmla="*/ 53 h 55"/>
                <a:gd name="T4" fmla="*/ 14 w 22"/>
                <a:gd name="T5" fmla="*/ 2 h 55"/>
                <a:gd name="T6" fmla="*/ 20 w 22"/>
                <a:gd name="T7" fmla="*/ 2 h 55"/>
                <a:gd name="T8" fmla="*/ 20 w 22"/>
                <a:gd name="T9" fmla="*/ 8 h 55"/>
                <a:gd name="T10" fmla="*/ 20 w 22"/>
                <a:gd name="T11" fmla="*/ 48 h 55"/>
                <a:gd name="T12" fmla="*/ 20 w 22"/>
                <a:gd name="T13" fmla="*/ 53 h 55"/>
                <a:gd name="T14" fmla="*/ 17 w 22"/>
                <a:gd name="T15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55">
                  <a:moveTo>
                    <a:pt x="17" y="55"/>
                  </a:moveTo>
                  <a:cubicBezTo>
                    <a:pt x="16" y="55"/>
                    <a:pt x="15" y="54"/>
                    <a:pt x="14" y="53"/>
                  </a:cubicBezTo>
                  <a:cubicBezTo>
                    <a:pt x="0" y="39"/>
                    <a:pt x="0" y="16"/>
                    <a:pt x="14" y="2"/>
                  </a:cubicBezTo>
                  <a:cubicBezTo>
                    <a:pt x="16" y="0"/>
                    <a:pt x="19" y="0"/>
                    <a:pt x="20" y="2"/>
                  </a:cubicBezTo>
                  <a:cubicBezTo>
                    <a:pt x="22" y="3"/>
                    <a:pt x="22" y="6"/>
                    <a:pt x="20" y="8"/>
                  </a:cubicBezTo>
                  <a:cubicBezTo>
                    <a:pt x="9" y="19"/>
                    <a:pt x="9" y="37"/>
                    <a:pt x="20" y="48"/>
                  </a:cubicBezTo>
                  <a:cubicBezTo>
                    <a:pt x="22" y="49"/>
                    <a:pt x="22" y="52"/>
                    <a:pt x="20" y="53"/>
                  </a:cubicBezTo>
                  <a:cubicBezTo>
                    <a:pt x="20" y="54"/>
                    <a:pt x="18" y="55"/>
                    <a:pt x="17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3" name="Freeform 68">
              <a:extLst>
                <a:ext uri="{FF2B5EF4-FFF2-40B4-BE49-F238E27FC236}">
                  <a16:creationId xmlns:a16="http://schemas.microsoft.com/office/drawing/2014/main" id="{8AF64950-ECD5-3681-4933-930E9F5CCC09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68773" y="2727868"/>
              <a:ext cx="52994" cy="81527"/>
            </a:xfrm>
            <a:custGeom>
              <a:avLst/>
              <a:gdLst>
                <a:gd name="T0" fmla="*/ 18 w 22"/>
                <a:gd name="T1" fmla="*/ 31 h 31"/>
                <a:gd name="T2" fmla="*/ 17 w 22"/>
                <a:gd name="T3" fmla="*/ 31 h 31"/>
                <a:gd name="T4" fmla="*/ 0 w 22"/>
                <a:gd name="T5" fmla="*/ 5 h 31"/>
                <a:gd name="T6" fmla="*/ 4 w 22"/>
                <a:gd name="T7" fmla="*/ 1 h 31"/>
                <a:gd name="T8" fmla="*/ 8 w 22"/>
                <a:gd name="T9" fmla="*/ 4 h 31"/>
                <a:gd name="T10" fmla="*/ 19 w 22"/>
                <a:gd name="T11" fmla="*/ 23 h 31"/>
                <a:gd name="T12" fmla="*/ 22 w 22"/>
                <a:gd name="T13" fmla="*/ 27 h 31"/>
                <a:gd name="T14" fmla="*/ 18 w 22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31">
                  <a:moveTo>
                    <a:pt x="18" y="31"/>
                  </a:moveTo>
                  <a:cubicBezTo>
                    <a:pt x="18" y="31"/>
                    <a:pt x="17" y="31"/>
                    <a:pt x="17" y="31"/>
                  </a:cubicBezTo>
                  <a:cubicBezTo>
                    <a:pt x="16" y="31"/>
                    <a:pt x="2" y="28"/>
                    <a:pt x="0" y="5"/>
                  </a:cubicBezTo>
                  <a:cubicBezTo>
                    <a:pt x="0" y="3"/>
                    <a:pt x="1" y="1"/>
                    <a:pt x="4" y="1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10" y="20"/>
                    <a:pt x="18" y="22"/>
                    <a:pt x="19" y="23"/>
                  </a:cubicBezTo>
                  <a:cubicBezTo>
                    <a:pt x="21" y="23"/>
                    <a:pt x="22" y="25"/>
                    <a:pt x="22" y="27"/>
                  </a:cubicBezTo>
                  <a:cubicBezTo>
                    <a:pt x="21" y="29"/>
                    <a:pt x="20" y="31"/>
                    <a:pt x="18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4" name="Freeform 69">
              <a:extLst>
                <a:ext uri="{FF2B5EF4-FFF2-40B4-BE49-F238E27FC236}">
                  <a16:creationId xmlns:a16="http://schemas.microsoft.com/office/drawing/2014/main" id="{A10E1D3C-1B3D-1C13-357F-55FF2E4BE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58710" y="2519976"/>
              <a:ext cx="52994" cy="93757"/>
            </a:xfrm>
            <a:custGeom>
              <a:avLst/>
              <a:gdLst>
                <a:gd name="T0" fmla="*/ 7 w 21"/>
                <a:gd name="T1" fmla="*/ 38 h 38"/>
                <a:gd name="T2" fmla="*/ 4 w 21"/>
                <a:gd name="T3" fmla="*/ 36 h 38"/>
                <a:gd name="T4" fmla="*/ 2 w 21"/>
                <a:gd name="T5" fmla="*/ 16 h 38"/>
                <a:gd name="T6" fmla="*/ 14 w 21"/>
                <a:gd name="T7" fmla="*/ 1 h 38"/>
                <a:gd name="T8" fmla="*/ 20 w 21"/>
                <a:gd name="T9" fmla="*/ 3 h 38"/>
                <a:gd name="T10" fmla="*/ 18 w 21"/>
                <a:gd name="T11" fmla="*/ 8 h 38"/>
                <a:gd name="T12" fmla="*/ 10 w 21"/>
                <a:gd name="T13" fmla="*/ 19 h 38"/>
                <a:gd name="T14" fmla="*/ 11 w 21"/>
                <a:gd name="T15" fmla="*/ 32 h 38"/>
                <a:gd name="T16" fmla="*/ 9 w 21"/>
                <a:gd name="T17" fmla="*/ 37 h 38"/>
                <a:gd name="T18" fmla="*/ 7 w 21"/>
                <a:gd name="T19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8">
                  <a:moveTo>
                    <a:pt x="7" y="38"/>
                  </a:moveTo>
                  <a:cubicBezTo>
                    <a:pt x="6" y="38"/>
                    <a:pt x="5" y="37"/>
                    <a:pt x="4" y="36"/>
                  </a:cubicBezTo>
                  <a:cubicBezTo>
                    <a:pt x="1" y="30"/>
                    <a:pt x="0" y="23"/>
                    <a:pt x="2" y="16"/>
                  </a:cubicBezTo>
                  <a:cubicBezTo>
                    <a:pt x="4" y="10"/>
                    <a:pt x="8" y="4"/>
                    <a:pt x="14" y="1"/>
                  </a:cubicBezTo>
                  <a:cubicBezTo>
                    <a:pt x="16" y="0"/>
                    <a:pt x="19" y="1"/>
                    <a:pt x="20" y="3"/>
                  </a:cubicBezTo>
                  <a:cubicBezTo>
                    <a:pt x="21" y="5"/>
                    <a:pt x="20" y="7"/>
                    <a:pt x="18" y="8"/>
                  </a:cubicBezTo>
                  <a:cubicBezTo>
                    <a:pt x="14" y="10"/>
                    <a:pt x="11" y="14"/>
                    <a:pt x="10" y="19"/>
                  </a:cubicBezTo>
                  <a:cubicBezTo>
                    <a:pt x="8" y="23"/>
                    <a:pt x="9" y="28"/>
                    <a:pt x="11" y="32"/>
                  </a:cubicBezTo>
                  <a:cubicBezTo>
                    <a:pt x="12" y="34"/>
                    <a:pt x="11" y="36"/>
                    <a:pt x="9" y="37"/>
                  </a:cubicBezTo>
                  <a:cubicBezTo>
                    <a:pt x="9" y="38"/>
                    <a:pt x="8" y="38"/>
                    <a:pt x="7" y="3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5" name="Freeform 70">
              <a:extLst>
                <a:ext uri="{FF2B5EF4-FFF2-40B4-BE49-F238E27FC236}">
                  <a16:creationId xmlns:a16="http://schemas.microsoft.com/office/drawing/2014/main" id="{C3282AE7-438C-9E17-A22A-C8AAB542397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91321" y="2548509"/>
              <a:ext cx="57069" cy="48916"/>
            </a:xfrm>
            <a:custGeom>
              <a:avLst/>
              <a:gdLst>
                <a:gd name="T0" fmla="*/ 4 w 22"/>
                <a:gd name="T1" fmla="*/ 20 h 20"/>
                <a:gd name="T2" fmla="*/ 3 w 22"/>
                <a:gd name="T3" fmla="*/ 20 h 20"/>
                <a:gd name="T4" fmla="*/ 1 w 22"/>
                <a:gd name="T5" fmla="*/ 15 h 20"/>
                <a:gd name="T6" fmla="*/ 18 w 22"/>
                <a:gd name="T7" fmla="*/ 1 h 20"/>
                <a:gd name="T8" fmla="*/ 22 w 22"/>
                <a:gd name="T9" fmla="*/ 5 h 20"/>
                <a:gd name="T10" fmla="*/ 17 w 22"/>
                <a:gd name="T11" fmla="*/ 9 h 20"/>
                <a:gd name="T12" fmla="*/ 8 w 22"/>
                <a:gd name="T13" fmla="*/ 18 h 20"/>
                <a:gd name="T14" fmla="*/ 4 w 22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0">
                  <a:moveTo>
                    <a:pt x="4" y="20"/>
                  </a:moveTo>
                  <a:cubicBezTo>
                    <a:pt x="4" y="20"/>
                    <a:pt x="3" y="20"/>
                    <a:pt x="3" y="20"/>
                  </a:cubicBezTo>
                  <a:cubicBezTo>
                    <a:pt x="1" y="19"/>
                    <a:pt x="0" y="17"/>
                    <a:pt x="1" y="15"/>
                  </a:cubicBezTo>
                  <a:cubicBezTo>
                    <a:pt x="7" y="0"/>
                    <a:pt x="17" y="1"/>
                    <a:pt x="18" y="1"/>
                  </a:cubicBezTo>
                  <a:cubicBezTo>
                    <a:pt x="20" y="1"/>
                    <a:pt x="22" y="3"/>
                    <a:pt x="22" y="5"/>
                  </a:cubicBezTo>
                  <a:cubicBezTo>
                    <a:pt x="21" y="8"/>
                    <a:pt x="19" y="9"/>
                    <a:pt x="17" y="9"/>
                  </a:cubicBezTo>
                  <a:cubicBezTo>
                    <a:pt x="17" y="9"/>
                    <a:pt x="12" y="9"/>
                    <a:pt x="8" y="18"/>
                  </a:cubicBezTo>
                  <a:cubicBezTo>
                    <a:pt x="7" y="19"/>
                    <a:pt x="6" y="20"/>
                    <a:pt x="4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6" name="Freeform 71">
              <a:extLst>
                <a:ext uri="{FF2B5EF4-FFF2-40B4-BE49-F238E27FC236}">
                  <a16:creationId xmlns:a16="http://schemas.microsoft.com/office/drawing/2014/main" id="{75BFEF23-66FD-FFF2-2D39-2827452ACC5C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79093" y="2650419"/>
              <a:ext cx="61147" cy="85605"/>
            </a:xfrm>
            <a:custGeom>
              <a:avLst/>
              <a:gdLst>
                <a:gd name="T0" fmla="*/ 10 w 23"/>
                <a:gd name="T1" fmla="*/ 33 h 33"/>
                <a:gd name="T2" fmla="*/ 6 w 23"/>
                <a:gd name="T3" fmla="*/ 31 h 33"/>
                <a:gd name="T4" fmla="*/ 16 w 23"/>
                <a:gd name="T5" fmla="*/ 1 h 33"/>
                <a:gd name="T6" fmla="*/ 22 w 23"/>
                <a:gd name="T7" fmla="*/ 3 h 33"/>
                <a:gd name="T8" fmla="*/ 20 w 23"/>
                <a:gd name="T9" fmla="*/ 8 h 33"/>
                <a:gd name="T10" fmla="*/ 14 w 23"/>
                <a:gd name="T11" fmla="*/ 27 h 33"/>
                <a:gd name="T12" fmla="*/ 12 w 23"/>
                <a:gd name="T13" fmla="*/ 33 h 33"/>
                <a:gd name="T14" fmla="*/ 10 w 23"/>
                <a:gd name="T15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33">
                  <a:moveTo>
                    <a:pt x="10" y="33"/>
                  </a:moveTo>
                  <a:cubicBezTo>
                    <a:pt x="8" y="33"/>
                    <a:pt x="7" y="32"/>
                    <a:pt x="6" y="31"/>
                  </a:cubicBezTo>
                  <a:cubicBezTo>
                    <a:pt x="3" y="25"/>
                    <a:pt x="0" y="10"/>
                    <a:pt x="16" y="1"/>
                  </a:cubicBezTo>
                  <a:cubicBezTo>
                    <a:pt x="18" y="0"/>
                    <a:pt x="21" y="1"/>
                    <a:pt x="22" y="3"/>
                  </a:cubicBezTo>
                  <a:cubicBezTo>
                    <a:pt x="23" y="4"/>
                    <a:pt x="22" y="7"/>
                    <a:pt x="20" y="8"/>
                  </a:cubicBezTo>
                  <a:cubicBezTo>
                    <a:pt x="8" y="15"/>
                    <a:pt x="13" y="26"/>
                    <a:pt x="14" y="27"/>
                  </a:cubicBezTo>
                  <a:cubicBezTo>
                    <a:pt x="15" y="29"/>
                    <a:pt x="14" y="32"/>
                    <a:pt x="12" y="33"/>
                  </a:cubicBezTo>
                  <a:cubicBezTo>
                    <a:pt x="11" y="33"/>
                    <a:pt x="11" y="33"/>
                    <a:pt x="10" y="3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7" name="Freeform 72">
              <a:extLst>
                <a:ext uri="{FF2B5EF4-FFF2-40B4-BE49-F238E27FC236}">
                  <a16:creationId xmlns:a16="http://schemas.microsoft.com/office/drawing/2014/main" id="{27420C2C-E8EA-0D4A-9877-8579D077718C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64695" y="2585197"/>
              <a:ext cx="65222" cy="77452"/>
            </a:xfrm>
            <a:custGeom>
              <a:avLst/>
              <a:gdLst>
                <a:gd name="T0" fmla="*/ 16 w 25"/>
                <a:gd name="T1" fmla="*/ 32 h 32"/>
                <a:gd name="T2" fmla="*/ 15 w 25"/>
                <a:gd name="T3" fmla="*/ 32 h 32"/>
                <a:gd name="T4" fmla="*/ 12 w 25"/>
                <a:gd name="T5" fmla="*/ 27 h 32"/>
                <a:gd name="T6" fmla="*/ 3 w 25"/>
                <a:gd name="T7" fmla="*/ 9 h 32"/>
                <a:gd name="T8" fmla="*/ 0 w 25"/>
                <a:gd name="T9" fmla="*/ 3 h 32"/>
                <a:gd name="T10" fmla="*/ 6 w 25"/>
                <a:gd name="T11" fmla="*/ 1 h 32"/>
                <a:gd name="T12" fmla="*/ 20 w 25"/>
                <a:gd name="T13" fmla="*/ 29 h 32"/>
                <a:gd name="T14" fmla="*/ 16 w 25"/>
                <a:gd name="T1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32">
                  <a:moveTo>
                    <a:pt x="16" y="32"/>
                  </a:moveTo>
                  <a:cubicBezTo>
                    <a:pt x="16" y="32"/>
                    <a:pt x="15" y="32"/>
                    <a:pt x="15" y="32"/>
                  </a:cubicBezTo>
                  <a:cubicBezTo>
                    <a:pt x="13" y="31"/>
                    <a:pt x="11" y="29"/>
                    <a:pt x="12" y="27"/>
                  </a:cubicBezTo>
                  <a:cubicBezTo>
                    <a:pt x="16" y="13"/>
                    <a:pt x="4" y="9"/>
                    <a:pt x="3" y="9"/>
                  </a:cubicBezTo>
                  <a:cubicBezTo>
                    <a:pt x="1" y="8"/>
                    <a:pt x="0" y="6"/>
                    <a:pt x="0" y="3"/>
                  </a:cubicBezTo>
                  <a:cubicBezTo>
                    <a:pt x="1" y="1"/>
                    <a:pt x="3" y="0"/>
                    <a:pt x="6" y="1"/>
                  </a:cubicBezTo>
                  <a:cubicBezTo>
                    <a:pt x="13" y="3"/>
                    <a:pt x="25" y="12"/>
                    <a:pt x="20" y="29"/>
                  </a:cubicBezTo>
                  <a:cubicBezTo>
                    <a:pt x="19" y="31"/>
                    <a:pt x="18" y="32"/>
                    <a:pt x="16" y="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8" name="Freeform 73">
              <a:extLst>
                <a:ext uri="{FF2B5EF4-FFF2-40B4-BE49-F238E27FC236}">
                  <a16:creationId xmlns:a16="http://schemas.microsoft.com/office/drawing/2014/main" id="{03000F9E-FDAD-0B88-727F-2DADF2104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62788" y="2821626"/>
              <a:ext cx="57069" cy="44841"/>
            </a:xfrm>
            <a:custGeom>
              <a:avLst/>
              <a:gdLst>
                <a:gd name="T0" fmla="*/ 18 w 22"/>
                <a:gd name="T1" fmla="*/ 18 h 18"/>
                <a:gd name="T2" fmla="*/ 14 w 22"/>
                <a:gd name="T3" fmla="*/ 14 h 18"/>
                <a:gd name="T4" fmla="*/ 4 w 22"/>
                <a:gd name="T5" fmla="*/ 8 h 18"/>
                <a:gd name="T6" fmla="*/ 0 w 22"/>
                <a:gd name="T7" fmla="*/ 3 h 18"/>
                <a:gd name="T8" fmla="*/ 5 w 22"/>
                <a:gd name="T9" fmla="*/ 0 h 18"/>
                <a:gd name="T10" fmla="*/ 22 w 22"/>
                <a:gd name="T11" fmla="*/ 12 h 18"/>
                <a:gd name="T12" fmla="*/ 19 w 22"/>
                <a:gd name="T13" fmla="*/ 17 h 18"/>
                <a:gd name="T14" fmla="*/ 18 w 22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18">
                  <a:moveTo>
                    <a:pt x="18" y="18"/>
                  </a:moveTo>
                  <a:cubicBezTo>
                    <a:pt x="16" y="18"/>
                    <a:pt x="14" y="16"/>
                    <a:pt x="14" y="14"/>
                  </a:cubicBezTo>
                  <a:cubicBezTo>
                    <a:pt x="13" y="11"/>
                    <a:pt x="7" y="9"/>
                    <a:pt x="4" y="8"/>
                  </a:cubicBezTo>
                  <a:cubicBezTo>
                    <a:pt x="1" y="8"/>
                    <a:pt x="0" y="5"/>
                    <a:pt x="0" y="3"/>
                  </a:cubicBezTo>
                  <a:cubicBezTo>
                    <a:pt x="1" y="1"/>
                    <a:pt x="3" y="0"/>
                    <a:pt x="5" y="0"/>
                  </a:cubicBezTo>
                  <a:cubicBezTo>
                    <a:pt x="7" y="0"/>
                    <a:pt x="19" y="3"/>
                    <a:pt x="22" y="12"/>
                  </a:cubicBezTo>
                  <a:cubicBezTo>
                    <a:pt x="22" y="15"/>
                    <a:pt x="21" y="17"/>
                    <a:pt x="19" y="17"/>
                  </a:cubicBezTo>
                  <a:cubicBezTo>
                    <a:pt x="18" y="18"/>
                    <a:pt x="18" y="18"/>
                    <a:pt x="18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9" name="Shape10_20200717_154352">
            <a:extLst>
              <a:ext uri="{FF2B5EF4-FFF2-40B4-BE49-F238E27FC236}">
                <a16:creationId xmlns:a16="http://schemas.microsoft.com/office/drawing/2014/main" id="{291DB3C9-763D-694B-8B57-8DFB5A6AE4ED}"/>
              </a:ext>
            </a:extLst>
          </p:cNvPr>
          <p:cNvGrpSpPr>
            <a:grpSpLocks noChangeAspect="1"/>
          </p:cNvGrpSpPr>
          <p:nvPr/>
        </p:nvGrpSpPr>
        <p:grpSpPr>
          <a:xfrm>
            <a:off x="553359" y="1178189"/>
            <a:ext cx="660369" cy="701131"/>
            <a:chOff x="-8902191" y="926123"/>
            <a:chExt cx="660369" cy="701131"/>
          </a:xfrm>
          <a:solidFill>
            <a:schemeClr val="accent1"/>
          </a:solidFill>
        </p:grpSpPr>
        <p:sp>
          <p:nvSpPr>
            <p:cNvPr id="213" name="Freeform 74">
              <a:extLst>
                <a:ext uri="{FF2B5EF4-FFF2-40B4-BE49-F238E27FC236}">
                  <a16:creationId xmlns:a16="http://schemas.microsoft.com/office/drawing/2014/main" id="{CC3600EB-B15B-4D9C-DBBF-04A38AD99290}"/>
                </a:ext>
              </a:extLst>
            </p:cNvPr>
            <p:cNvSpPr>
              <a:spLocks/>
            </p:cNvSpPr>
            <p:nvPr/>
          </p:nvSpPr>
          <p:spPr bwMode="auto">
            <a:xfrm>
              <a:off x="-8898113" y="1272614"/>
              <a:ext cx="216048" cy="203817"/>
            </a:xfrm>
            <a:custGeom>
              <a:avLst/>
              <a:gdLst>
                <a:gd name="T0" fmla="*/ 19 w 86"/>
                <a:gd name="T1" fmla="*/ 82 h 82"/>
                <a:gd name="T2" fmla="*/ 16 w 86"/>
                <a:gd name="T3" fmla="*/ 80 h 82"/>
                <a:gd name="T4" fmla="*/ 22 w 86"/>
                <a:gd name="T5" fmla="*/ 13 h 82"/>
                <a:gd name="T6" fmla="*/ 56 w 86"/>
                <a:gd name="T7" fmla="*/ 1 h 82"/>
                <a:gd name="T8" fmla="*/ 85 w 86"/>
                <a:gd name="T9" fmla="*/ 16 h 82"/>
                <a:gd name="T10" fmla="*/ 84 w 86"/>
                <a:gd name="T11" fmla="*/ 22 h 82"/>
                <a:gd name="T12" fmla="*/ 78 w 86"/>
                <a:gd name="T13" fmla="*/ 21 h 82"/>
                <a:gd name="T14" fmla="*/ 55 w 86"/>
                <a:gd name="T15" fmla="*/ 9 h 82"/>
                <a:gd name="T16" fmla="*/ 28 w 86"/>
                <a:gd name="T17" fmla="*/ 19 h 82"/>
                <a:gd name="T18" fmla="*/ 22 w 86"/>
                <a:gd name="T19" fmla="*/ 75 h 82"/>
                <a:gd name="T20" fmla="*/ 22 w 86"/>
                <a:gd name="T21" fmla="*/ 81 h 82"/>
                <a:gd name="T22" fmla="*/ 19 w 86"/>
                <a:gd name="T23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6" h="82">
                  <a:moveTo>
                    <a:pt x="19" y="82"/>
                  </a:moveTo>
                  <a:cubicBezTo>
                    <a:pt x="18" y="82"/>
                    <a:pt x="17" y="81"/>
                    <a:pt x="16" y="80"/>
                  </a:cubicBezTo>
                  <a:cubicBezTo>
                    <a:pt x="0" y="61"/>
                    <a:pt x="3" y="31"/>
                    <a:pt x="22" y="13"/>
                  </a:cubicBezTo>
                  <a:cubicBezTo>
                    <a:pt x="31" y="4"/>
                    <a:pt x="43" y="0"/>
                    <a:pt x="56" y="1"/>
                  </a:cubicBezTo>
                  <a:cubicBezTo>
                    <a:pt x="67" y="2"/>
                    <a:pt x="77" y="7"/>
                    <a:pt x="85" y="16"/>
                  </a:cubicBezTo>
                  <a:cubicBezTo>
                    <a:pt x="86" y="18"/>
                    <a:pt x="86" y="20"/>
                    <a:pt x="84" y="22"/>
                  </a:cubicBezTo>
                  <a:cubicBezTo>
                    <a:pt x="82" y="23"/>
                    <a:pt x="80" y="23"/>
                    <a:pt x="78" y="21"/>
                  </a:cubicBezTo>
                  <a:cubicBezTo>
                    <a:pt x="72" y="14"/>
                    <a:pt x="64" y="10"/>
                    <a:pt x="55" y="9"/>
                  </a:cubicBezTo>
                  <a:cubicBezTo>
                    <a:pt x="45" y="8"/>
                    <a:pt x="35" y="12"/>
                    <a:pt x="28" y="19"/>
                  </a:cubicBezTo>
                  <a:cubicBezTo>
                    <a:pt x="12" y="34"/>
                    <a:pt x="9" y="59"/>
                    <a:pt x="22" y="75"/>
                  </a:cubicBezTo>
                  <a:cubicBezTo>
                    <a:pt x="24" y="77"/>
                    <a:pt x="23" y="79"/>
                    <a:pt x="22" y="81"/>
                  </a:cubicBezTo>
                  <a:cubicBezTo>
                    <a:pt x="21" y="81"/>
                    <a:pt x="20" y="82"/>
                    <a:pt x="19" y="8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4" name="Freeform 75">
              <a:extLst>
                <a:ext uri="{FF2B5EF4-FFF2-40B4-BE49-F238E27FC236}">
                  <a16:creationId xmlns:a16="http://schemas.microsoft.com/office/drawing/2014/main" id="{2F204F42-D516-4CAA-2850-C633867AFE4E}"/>
                </a:ext>
              </a:extLst>
            </p:cNvPr>
            <p:cNvSpPr>
              <a:spLocks/>
            </p:cNvSpPr>
            <p:nvPr/>
          </p:nvSpPr>
          <p:spPr bwMode="auto">
            <a:xfrm>
              <a:off x="-8510861" y="1264461"/>
              <a:ext cx="211970" cy="138596"/>
            </a:xfrm>
            <a:custGeom>
              <a:avLst/>
              <a:gdLst>
                <a:gd name="T0" fmla="*/ 79 w 84"/>
                <a:gd name="T1" fmla="*/ 55 h 55"/>
                <a:gd name="T2" fmla="*/ 75 w 84"/>
                <a:gd name="T3" fmla="*/ 51 h 55"/>
                <a:gd name="T4" fmla="*/ 49 w 84"/>
                <a:gd name="T5" fmla="*/ 15 h 55"/>
                <a:gd name="T6" fmla="*/ 7 w 84"/>
                <a:gd name="T7" fmla="*/ 23 h 55"/>
                <a:gd name="T8" fmla="*/ 1 w 84"/>
                <a:gd name="T9" fmla="*/ 23 h 55"/>
                <a:gd name="T10" fmla="*/ 2 w 84"/>
                <a:gd name="T11" fmla="*/ 17 h 55"/>
                <a:gd name="T12" fmla="*/ 52 w 84"/>
                <a:gd name="T13" fmla="*/ 8 h 55"/>
                <a:gd name="T14" fmla="*/ 84 w 84"/>
                <a:gd name="T15" fmla="*/ 50 h 55"/>
                <a:gd name="T16" fmla="*/ 80 w 84"/>
                <a:gd name="T17" fmla="*/ 55 h 55"/>
                <a:gd name="T18" fmla="*/ 79 w 84"/>
                <a:gd name="T1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55">
                  <a:moveTo>
                    <a:pt x="79" y="55"/>
                  </a:moveTo>
                  <a:cubicBezTo>
                    <a:pt x="77" y="55"/>
                    <a:pt x="76" y="53"/>
                    <a:pt x="75" y="51"/>
                  </a:cubicBezTo>
                  <a:cubicBezTo>
                    <a:pt x="73" y="35"/>
                    <a:pt x="63" y="21"/>
                    <a:pt x="49" y="15"/>
                  </a:cubicBezTo>
                  <a:cubicBezTo>
                    <a:pt x="34" y="9"/>
                    <a:pt x="19" y="12"/>
                    <a:pt x="7" y="23"/>
                  </a:cubicBezTo>
                  <a:cubicBezTo>
                    <a:pt x="6" y="25"/>
                    <a:pt x="3" y="25"/>
                    <a:pt x="1" y="23"/>
                  </a:cubicBezTo>
                  <a:cubicBezTo>
                    <a:pt x="0" y="21"/>
                    <a:pt x="0" y="19"/>
                    <a:pt x="2" y="17"/>
                  </a:cubicBezTo>
                  <a:cubicBezTo>
                    <a:pt x="15" y="4"/>
                    <a:pt x="34" y="0"/>
                    <a:pt x="52" y="8"/>
                  </a:cubicBezTo>
                  <a:cubicBezTo>
                    <a:pt x="69" y="15"/>
                    <a:pt x="81" y="31"/>
                    <a:pt x="84" y="50"/>
                  </a:cubicBezTo>
                  <a:cubicBezTo>
                    <a:pt x="84" y="52"/>
                    <a:pt x="82" y="54"/>
                    <a:pt x="80" y="55"/>
                  </a:cubicBezTo>
                  <a:cubicBezTo>
                    <a:pt x="80" y="55"/>
                    <a:pt x="80" y="55"/>
                    <a:pt x="79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5" name="Freeform 76">
              <a:extLst>
                <a:ext uri="{FF2B5EF4-FFF2-40B4-BE49-F238E27FC236}">
                  <a16:creationId xmlns:a16="http://schemas.microsoft.com/office/drawing/2014/main" id="{DE85F73F-9F0C-63B3-0073-37B3F65774D3}"/>
                </a:ext>
              </a:extLst>
            </p:cNvPr>
            <p:cNvSpPr>
              <a:spLocks/>
            </p:cNvSpPr>
            <p:nvPr/>
          </p:nvSpPr>
          <p:spPr bwMode="auto">
            <a:xfrm>
              <a:off x="-8718754" y="1219620"/>
              <a:ext cx="81527" cy="77452"/>
            </a:xfrm>
            <a:custGeom>
              <a:avLst/>
              <a:gdLst>
                <a:gd name="T0" fmla="*/ 5 w 33"/>
                <a:gd name="T1" fmla="*/ 30 h 30"/>
                <a:gd name="T2" fmla="*/ 2 w 33"/>
                <a:gd name="T3" fmla="*/ 29 h 30"/>
                <a:gd name="T4" fmla="*/ 1 w 33"/>
                <a:gd name="T5" fmla="*/ 24 h 30"/>
                <a:gd name="T6" fmla="*/ 22 w 33"/>
                <a:gd name="T7" fmla="*/ 3 h 30"/>
                <a:gd name="T8" fmla="*/ 27 w 33"/>
                <a:gd name="T9" fmla="*/ 1 h 30"/>
                <a:gd name="T10" fmla="*/ 32 w 33"/>
                <a:gd name="T11" fmla="*/ 3 h 30"/>
                <a:gd name="T12" fmla="*/ 30 w 33"/>
                <a:gd name="T13" fmla="*/ 8 h 30"/>
                <a:gd name="T14" fmla="*/ 26 w 33"/>
                <a:gd name="T15" fmla="*/ 11 h 30"/>
                <a:gd name="T16" fmla="*/ 8 w 33"/>
                <a:gd name="T17" fmla="*/ 28 h 30"/>
                <a:gd name="T18" fmla="*/ 5 w 33"/>
                <a:gd name="T1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30">
                  <a:moveTo>
                    <a:pt x="5" y="30"/>
                  </a:moveTo>
                  <a:cubicBezTo>
                    <a:pt x="4" y="30"/>
                    <a:pt x="3" y="30"/>
                    <a:pt x="2" y="29"/>
                  </a:cubicBezTo>
                  <a:cubicBezTo>
                    <a:pt x="0" y="28"/>
                    <a:pt x="0" y="26"/>
                    <a:pt x="1" y="24"/>
                  </a:cubicBezTo>
                  <a:cubicBezTo>
                    <a:pt x="6" y="15"/>
                    <a:pt x="14" y="8"/>
                    <a:pt x="22" y="3"/>
                  </a:cubicBezTo>
                  <a:cubicBezTo>
                    <a:pt x="23" y="3"/>
                    <a:pt x="25" y="2"/>
                    <a:pt x="27" y="1"/>
                  </a:cubicBezTo>
                  <a:cubicBezTo>
                    <a:pt x="29" y="0"/>
                    <a:pt x="31" y="1"/>
                    <a:pt x="32" y="3"/>
                  </a:cubicBezTo>
                  <a:cubicBezTo>
                    <a:pt x="33" y="5"/>
                    <a:pt x="32" y="7"/>
                    <a:pt x="30" y="8"/>
                  </a:cubicBezTo>
                  <a:cubicBezTo>
                    <a:pt x="29" y="9"/>
                    <a:pt x="27" y="10"/>
                    <a:pt x="26" y="11"/>
                  </a:cubicBezTo>
                  <a:cubicBezTo>
                    <a:pt x="19" y="15"/>
                    <a:pt x="13" y="21"/>
                    <a:pt x="8" y="28"/>
                  </a:cubicBezTo>
                  <a:cubicBezTo>
                    <a:pt x="7" y="29"/>
                    <a:pt x="6" y="30"/>
                    <a:pt x="5" y="3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6" name="Freeform 77">
              <a:extLst>
                <a:ext uri="{FF2B5EF4-FFF2-40B4-BE49-F238E27FC236}">
                  <a16:creationId xmlns:a16="http://schemas.microsoft.com/office/drawing/2014/main" id="{D1DA0235-1A73-3F5B-AC7E-290DC63F8099}"/>
                </a:ext>
              </a:extLst>
            </p:cNvPr>
            <p:cNvSpPr>
              <a:spLocks/>
            </p:cNvSpPr>
            <p:nvPr/>
          </p:nvSpPr>
          <p:spPr bwMode="auto">
            <a:xfrm>
              <a:off x="-8535319" y="1223698"/>
              <a:ext cx="77452" cy="81527"/>
            </a:xfrm>
            <a:custGeom>
              <a:avLst/>
              <a:gdLst>
                <a:gd name="T0" fmla="*/ 26 w 31"/>
                <a:gd name="T1" fmla="*/ 32 h 32"/>
                <a:gd name="T2" fmla="*/ 22 w 31"/>
                <a:gd name="T3" fmla="*/ 30 h 32"/>
                <a:gd name="T4" fmla="*/ 3 w 31"/>
                <a:gd name="T5" fmla="*/ 8 h 32"/>
                <a:gd name="T6" fmla="*/ 1 w 31"/>
                <a:gd name="T7" fmla="*/ 2 h 32"/>
                <a:gd name="T8" fmla="*/ 7 w 31"/>
                <a:gd name="T9" fmla="*/ 1 h 32"/>
                <a:gd name="T10" fmla="*/ 30 w 31"/>
                <a:gd name="T11" fmla="*/ 26 h 32"/>
                <a:gd name="T12" fmla="*/ 28 w 31"/>
                <a:gd name="T13" fmla="*/ 31 h 32"/>
                <a:gd name="T14" fmla="*/ 26 w 31"/>
                <a:gd name="T1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" h="32">
                  <a:moveTo>
                    <a:pt x="26" y="32"/>
                  </a:moveTo>
                  <a:cubicBezTo>
                    <a:pt x="24" y="32"/>
                    <a:pt x="23" y="31"/>
                    <a:pt x="22" y="30"/>
                  </a:cubicBezTo>
                  <a:cubicBezTo>
                    <a:pt x="18" y="20"/>
                    <a:pt x="11" y="13"/>
                    <a:pt x="3" y="8"/>
                  </a:cubicBezTo>
                  <a:cubicBezTo>
                    <a:pt x="1" y="7"/>
                    <a:pt x="0" y="4"/>
                    <a:pt x="1" y="2"/>
                  </a:cubicBezTo>
                  <a:cubicBezTo>
                    <a:pt x="2" y="1"/>
                    <a:pt x="5" y="0"/>
                    <a:pt x="7" y="1"/>
                  </a:cubicBezTo>
                  <a:cubicBezTo>
                    <a:pt x="16" y="7"/>
                    <a:pt x="24" y="15"/>
                    <a:pt x="30" y="26"/>
                  </a:cubicBezTo>
                  <a:cubicBezTo>
                    <a:pt x="31" y="28"/>
                    <a:pt x="30" y="30"/>
                    <a:pt x="28" y="31"/>
                  </a:cubicBezTo>
                  <a:cubicBezTo>
                    <a:pt x="27" y="32"/>
                    <a:pt x="26" y="32"/>
                    <a:pt x="26" y="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7" name="Freeform 78">
              <a:extLst>
                <a:ext uri="{FF2B5EF4-FFF2-40B4-BE49-F238E27FC236}">
                  <a16:creationId xmlns:a16="http://schemas.microsoft.com/office/drawing/2014/main" id="{DAA0BCEF-0944-840A-1A35-92F9F318BBAD}"/>
                </a:ext>
              </a:extLst>
            </p:cNvPr>
            <p:cNvSpPr>
              <a:spLocks/>
            </p:cNvSpPr>
            <p:nvPr/>
          </p:nvSpPr>
          <p:spPr bwMode="auto">
            <a:xfrm>
              <a:off x="-8649457" y="1378599"/>
              <a:ext cx="407635" cy="199742"/>
            </a:xfrm>
            <a:custGeom>
              <a:avLst/>
              <a:gdLst>
                <a:gd name="T0" fmla="*/ 125 w 161"/>
                <a:gd name="T1" fmla="*/ 79 h 79"/>
                <a:gd name="T2" fmla="*/ 28 w 161"/>
                <a:gd name="T3" fmla="*/ 79 h 79"/>
                <a:gd name="T4" fmla="*/ 1 w 161"/>
                <a:gd name="T5" fmla="*/ 66 h 79"/>
                <a:gd name="T6" fmla="*/ 2 w 161"/>
                <a:gd name="T7" fmla="*/ 60 h 79"/>
                <a:gd name="T8" fmla="*/ 8 w 161"/>
                <a:gd name="T9" fmla="*/ 61 h 79"/>
                <a:gd name="T10" fmla="*/ 28 w 161"/>
                <a:gd name="T11" fmla="*/ 70 h 79"/>
                <a:gd name="T12" fmla="*/ 125 w 161"/>
                <a:gd name="T13" fmla="*/ 70 h 79"/>
                <a:gd name="T14" fmla="*/ 153 w 161"/>
                <a:gd name="T15" fmla="*/ 39 h 79"/>
                <a:gd name="T16" fmla="*/ 142 w 161"/>
                <a:gd name="T17" fmla="*/ 16 h 79"/>
                <a:gd name="T18" fmla="*/ 121 w 161"/>
                <a:gd name="T19" fmla="*/ 9 h 79"/>
                <a:gd name="T20" fmla="*/ 116 w 161"/>
                <a:gd name="T21" fmla="*/ 5 h 79"/>
                <a:gd name="T22" fmla="*/ 120 w 161"/>
                <a:gd name="T23" fmla="*/ 1 h 79"/>
                <a:gd name="T24" fmla="*/ 148 w 161"/>
                <a:gd name="T25" fmla="*/ 10 h 79"/>
                <a:gd name="T26" fmla="*/ 161 w 161"/>
                <a:gd name="T27" fmla="*/ 39 h 79"/>
                <a:gd name="T28" fmla="*/ 125 w 161"/>
                <a:gd name="T29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1" h="79">
                  <a:moveTo>
                    <a:pt x="125" y="79"/>
                  </a:moveTo>
                  <a:cubicBezTo>
                    <a:pt x="28" y="79"/>
                    <a:pt x="28" y="79"/>
                    <a:pt x="28" y="79"/>
                  </a:cubicBezTo>
                  <a:cubicBezTo>
                    <a:pt x="18" y="79"/>
                    <a:pt x="8" y="74"/>
                    <a:pt x="1" y="66"/>
                  </a:cubicBezTo>
                  <a:cubicBezTo>
                    <a:pt x="0" y="64"/>
                    <a:pt x="0" y="62"/>
                    <a:pt x="2" y="60"/>
                  </a:cubicBezTo>
                  <a:cubicBezTo>
                    <a:pt x="4" y="59"/>
                    <a:pt x="6" y="59"/>
                    <a:pt x="8" y="61"/>
                  </a:cubicBezTo>
                  <a:cubicBezTo>
                    <a:pt x="13" y="67"/>
                    <a:pt x="20" y="70"/>
                    <a:pt x="28" y="70"/>
                  </a:cubicBezTo>
                  <a:cubicBezTo>
                    <a:pt x="125" y="70"/>
                    <a:pt x="125" y="70"/>
                    <a:pt x="125" y="70"/>
                  </a:cubicBezTo>
                  <a:cubicBezTo>
                    <a:pt x="140" y="70"/>
                    <a:pt x="153" y="56"/>
                    <a:pt x="153" y="39"/>
                  </a:cubicBezTo>
                  <a:cubicBezTo>
                    <a:pt x="153" y="31"/>
                    <a:pt x="149" y="22"/>
                    <a:pt x="142" y="16"/>
                  </a:cubicBezTo>
                  <a:cubicBezTo>
                    <a:pt x="136" y="11"/>
                    <a:pt x="129" y="8"/>
                    <a:pt x="121" y="9"/>
                  </a:cubicBezTo>
                  <a:cubicBezTo>
                    <a:pt x="119" y="9"/>
                    <a:pt x="117" y="7"/>
                    <a:pt x="116" y="5"/>
                  </a:cubicBezTo>
                  <a:cubicBezTo>
                    <a:pt x="116" y="3"/>
                    <a:pt x="118" y="1"/>
                    <a:pt x="120" y="1"/>
                  </a:cubicBezTo>
                  <a:cubicBezTo>
                    <a:pt x="130" y="0"/>
                    <a:pt x="140" y="3"/>
                    <a:pt x="148" y="10"/>
                  </a:cubicBezTo>
                  <a:cubicBezTo>
                    <a:pt x="156" y="18"/>
                    <a:pt x="161" y="29"/>
                    <a:pt x="161" y="39"/>
                  </a:cubicBezTo>
                  <a:cubicBezTo>
                    <a:pt x="161" y="61"/>
                    <a:pt x="145" y="79"/>
                    <a:pt x="125" y="7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8" name="Freeform 79">
              <a:extLst>
                <a:ext uri="{FF2B5EF4-FFF2-40B4-BE49-F238E27FC236}">
                  <a16:creationId xmlns:a16="http://schemas.microsoft.com/office/drawing/2014/main" id="{D72AF00B-85CD-63B1-1A6C-54A99D6D5D28}"/>
                </a:ext>
              </a:extLst>
            </p:cNvPr>
            <p:cNvSpPr>
              <a:spLocks/>
            </p:cNvSpPr>
            <p:nvPr/>
          </p:nvSpPr>
          <p:spPr bwMode="auto">
            <a:xfrm>
              <a:off x="-8902191" y="1447895"/>
              <a:ext cx="379102" cy="179359"/>
            </a:xfrm>
            <a:custGeom>
              <a:avLst/>
              <a:gdLst>
                <a:gd name="T0" fmla="*/ 120 w 151"/>
                <a:gd name="T1" fmla="*/ 71 h 71"/>
                <a:gd name="T2" fmla="*/ 33 w 151"/>
                <a:gd name="T3" fmla="*/ 71 h 71"/>
                <a:gd name="T4" fmla="*/ 0 w 151"/>
                <a:gd name="T5" fmla="*/ 36 h 71"/>
                <a:gd name="T6" fmla="*/ 30 w 151"/>
                <a:gd name="T7" fmla="*/ 0 h 71"/>
                <a:gd name="T8" fmla="*/ 34 w 151"/>
                <a:gd name="T9" fmla="*/ 4 h 71"/>
                <a:gd name="T10" fmla="*/ 31 w 151"/>
                <a:gd name="T11" fmla="*/ 8 h 71"/>
                <a:gd name="T12" fmla="*/ 8 w 151"/>
                <a:gd name="T13" fmla="*/ 36 h 71"/>
                <a:gd name="T14" fmla="*/ 33 w 151"/>
                <a:gd name="T15" fmla="*/ 63 h 71"/>
                <a:gd name="T16" fmla="*/ 120 w 151"/>
                <a:gd name="T17" fmla="*/ 63 h 71"/>
                <a:gd name="T18" fmla="*/ 142 w 151"/>
                <a:gd name="T19" fmla="*/ 47 h 71"/>
                <a:gd name="T20" fmla="*/ 148 w 151"/>
                <a:gd name="T21" fmla="*/ 45 h 71"/>
                <a:gd name="T22" fmla="*/ 150 w 151"/>
                <a:gd name="T23" fmla="*/ 50 h 71"/>
                <a:gd name="T24" fmla="*/ 120 w 151"/>
                <a:gd name="T25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1" h="71">
                  <a:moveTo>
                    <a:pt x="120" y="71"/>
                  </a:moveTo>
                  <a:cubicBezTo>
                    <a:pt x="33" y="71"/>
                    <a:pt x="33" y="71"/>
                    <a:pt x="33" y="71"/>
                  </a:cubicBezTo>
                  <a:cubicBezTo>
                    <a:pt x="15" y="71"/>
                    <a:pt x="0" y="55"/>
                    <a:pt x="0" y="36"/>
                  </a:cubicBezTo>
                  <a:cubicBezTo>
                    <a:pt x="0" y="17"/>
                    <a:pt x="13" y="2"/>
                    <a:pt x="30" y="0"/>
                  </a:cubicBezTo>
                  <a:cubicBezTo>
                    <a:pt x="32" y="0"/>
                    <a:pt x="34" y="2"/>
                    <a:pt x="34" y="4"/>
                  </a:cubicBezTo>
                  <a:cubicBezTo>
                    <a:pt x="35" y="6"/>
                    <a:pt x="33" y="8"/>
                    <a:pt x="31" y="8"/>
                  </a:cubicBezTo>
                  <a:cubicBezTo>
                    <a:pt x="18" y="10"/>
                    <a:pt x="8" y="21"/>
                    <a:pt x="8" y="36"/>
                  </a:cubicBezTo>
                  <a:cubicBezTo>
                    <a:pt x="8" y="51"/>
                    <a:pt x="19" y="63"/>
                    <a:pt x="33" y="63"/>
                  </a:cubicBezTo>
                  <a:cubicBezTo>
                    <a:pt x="120" y="63"/>
                    <a:pt x="120" y="63"/>
                    <a:pt x="120" y="63"/>
                  </a:cubicBezTo>
                  <a:cubicBezTo>
                    <a:pt x="129" y="63"/>
                    <a:pt x="138" y="57"/>
                    <a:pt x="142" y="47"/>
                  </a:cubicBezTo>
                  <a:cubicBezTo>
                    <a:pt x="143" y="45"/>
                    <a:pt x="146" y="44"/>
                    <a:pt x="148" y="45"/>
                  </a:cubicBezTo>
                  <a:cubicBezTo>
                    <a:pt x="150" y="46"/>
                    <a:pt x="151" y="48"/>
                    <a:pt x="150" y="50"/>
                  </a:cubicBezTo>
                  <a:cubicBezTo>
                    <a:pt x="144" y="63"/>
                    <a:pt x="133" y="71"/>
                    <a:pt x="120" y="7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9" name="Freeform 80">
              <a:extLst>
                <a:ext uri="{FF2B5EF4-FFF2-40B4-BE49-F238E27FC236}">
                  <a16:creationId xmlns:a16="http://schemas.microsoft.com/office/drawing/2014/main" id="{DBF75E6D-3331-F9D8-0D42-EAA74ABD1731}"/>
                </a:ext>
              </a:extLst>
            </p:cNvPr>
            <p:cNvSpPr>
              <a:spLocks/>
            </p:cNvSpPr>
            <p:nvPr/>
          </p:nvSpPr>
          <p:spPr bwMode="auto">
            <a:xfrm>
              <a:off x="-8445639" y="1411210"/>
              <a:ext cx="52994" cy="69299"/>
            </a:xfrm>
            <a:custGeom>
              <a:avLst/>
              <a:gdLst>
                <a:gd name="T0" fmla="*/ 4 w 22"/>
                <a:gd name="T1" fmla="*/ 27 h 27"/>
                <a:gd name="T2" fmla="*/ 3 w 22"/>
                <a:gd name="T3" fmla="*/ 27 h 27"/>
                <a:gd name="T4" fmla="*/ 0 w 22"/>
                <a:gd name="T5" fmla="*/ 23 h 27"/>
                <a:gd name="T6" fmla="*/ 15 w 22"/>
                <a:gd name="T7" fmla="*/ 1 h 27"/>
                <a:gd name="T8" fmla="*/ 21 w 22"/>
                <a:gd name="T9" fmla="*/ 3 h 27"/>
                <a:gd name="T10" fmla="*/ 19 w 22"/>
                <a:gd name="T11" fmla="*/ 9 h 27"/>
                <a:gd name="T12" fmla="*/ 8 w 22"/>
                <a:gd name="T13" fmla="*/ 23 h 27"/>
                <a:gd name="T14" fmla="*/ 4 w 22"/>
                <a:gd name="T15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7">
                  <a:moveTo>
                    <a:pt x="4" y="27"/>
                  </a:moveTo>
                  <a:cubicBezTo>
                    <a:pt x="4" y="27"/>
                    <a:pt x="4" y="27"/>
                    <a:pt x="3" y="27"/>
                  </a:cubicBezTo>
                  <a:cubicBezTo>
                    <a:pt x="1" y="27"/>
                    <a:pt x="0" y="25"/>
                    <a:pt x="0" y="23"/>
                  </a:cubicBezTo>
                  <a:cubicBezTo>
                    <a:pt x="1" y="7"/>
                    <a:pt x="15" y="1"/>
                    <a:pt x="15" y="1"/>
                  </a:cubicBezTo>
                  <a:cubicBezTo>
                    <a:pt x="18" y="0"/>
                    <a:pt x="20" y="1"/>
                    <a:pt x="21" y="3"/>
                  </a:cubicBezTo>
                  <a:cubicBezTo>
                    <a:pt x="22" y="6"/>
                    <a:pt x="21" y="8"/>
                    <a:pt x="19" y="9"/>
                  </a:cubicBezTo>
                  <a:cubicBezTo>
                    <a:pt x="18" y="9"/>
                    <a:pt x="9" y="13"/>
                    <a:pt x="8" y="23"/>
                  </a:cubicBezTo>
                  <a:cubicBezTo>
                    <a:pt x="8" y="25"/>
                    <a:pt x="6" y="27"/>
                    <a:pt x="4" y="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0" name="Freeform 81">
              <a:extLst>
                <a:ext uri="{FF2B5EF4-FFF2-40B4-BE49-F238E27FC236}">
                  <a16:creationId xmlns:a16="http://schemas.microsoft.com/office/drawing/2014/main" id="{CDB14014-D4C2-C76C-5EBD-43285C1DDB02}"/>
                </a:ext>
              </a:extLst>
            </p:cNvPr>
            <p:cNvSpPr>
              <a:spLocks/>
            </p:cNvSpPr>
            <p:nvPr/>
          </p:nvSpPr>
          <p:spPr bwMode="auto">
            <a:xfrm>
              <a:off x="-8796205" y="1362293"/>
              <a:ext cx="69299" cy="73374"/>
            </a:xfrm>
            <a:custGeom>
              <a:avLst/>
              <a:gdLst>
                <a:gd name="T0" fmla="*/ 4 w 27"/>
                <a:gd name="T1" fmla="*/ 28 h 28"/>
                <a:gd name="T2" fmla="*/ 0 w 27"/>
                <a:gd name="T3" fmla="*/ 24 h 28"/>
                <a:gd name="T4" fmla="*/ 22 w 27"/>
                <a:gd name="T5" fmla="*/ 0 h 28"/>
                <a:gd name="T6" fmla="*/ 27 w 27"/>
                <a:gd name="T7" fmla="*/ 4 h 28"/>
                <a:gd name="T8" fmla="*/ 23 w 27"/>
                <a:gd name="T9" fmla="*/ 8 h 28"/>
                <a:gd name="T10" fmla="*/ 8 w 27"/>
                <a:gd name="T11" fmla="*/ 24 h 28"/>
                <a:gd name="T12" fmla="*/ 4 w 27"/>
                <a:gd name="T1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8">
                  <a:moveTo>
                    <a:pt x="4" y="28"/>
                  </a:moveTo>
                  <a:cubicBezTo>
                    <a:pt x="2" y="28"/>
                    <a:pt x="0" y="26"/>
                    <a:pt x="0" y="24"/>
                  </a:cubicBezTo>
                  <a:cubicBezTo>
                    <a:pt x="0" y="7"/>
                    <a:pt x="15" y="1"/>
                    <a:pt x="22" y="0"/>
                  </a:cubicBezTo>
                  <a:cubicBezTo>
                    <a:pt x="25" y="0"/>
                    <a:pt x="27" y="1"/>
                    <a:pt x="27" y="4"/>
                  </a:cubicBezTo>
                  <a:cubicBezTo>
                    <a:pt x="27" y="6"/>
                    <a:pt x="26" y="8"/>
                    <a:pt x="23" y="8"/>
                  </a:cubicBezTo>
                  <a:cubicBezTo>
                    <a:pt x="22" y="8"/>
                    <a:pt x="8" y="10"/>
                    <a:pt x="8" y="24"/>
                  </a:cubicBezTo>
                  <a:cubicBezTo>
                    <a:pt x="8" y="26"/>
                    <a:pt x="7" y="28"/>
                    <a:pt x="4" y="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1" name="Freeform 82">
              <a:extLst>
                <a:ext uri="{FF2B5EF4-FFF2-40B4-BE49-F238E27FC236}">
                  <a16:creationId xmlns:a16="http://schemas.microsoft.com/office/drawing/2014/main" id="{F6286FAF-469B-DC4E-DF52-71122BE674A1}"/>
                </a:ext>
              </a:extLst>
            </p:cNvPr>
            <p:cNvSpPr>
              <a:spLocks/>
            </p:cNvSpPr>
            <p:nvPr/>
          </p:nvSpPr>
          <p:spPr bwMode="auto">
            <a:xfrm>
              <a:off x="-8686143" y="1366368"/>
              <a:ext cx="89680" cy="93757"/>
            </a:xfrm>
            <a:custGeom>
              <a:avLst/>
              <a:gdLst>
                <a:gd name="T0" fmla="*/ 23 w 36"/>
                <a:gd name="T1" fmla="*/ 37 h 37"/>
                <a:gd name="T2" fmla="*/ 10 w 36"/>
                <a:gd name="T3" fmla="*/ 32 h 37"/>
                <a:gd name="T4" fmla="*/ 4 w 36"/>
                <a:gd name="T5" fmla="*/ 3 h 37"/>
                <a:gd name="T6" fmla="*/ 9 w 36"/>
                <a:gd name="T7" fmla="*/ 0 h 37"/>
                <a:gd name="T8" fmla="*/ 12 w 36"/>
                <a:gd name="T9" fmla="*/ 5 h 37"/>
                <a:gd name="T10" fmla="*/ 12 w 36"/>
                <a:gd name="T11" fmla="*/ 5 h 37"/>
                <a:gd name="T12" fmla="*/ 16 w 36"/>
                <a:gd name="T13" fmla="*/ 26 h 37"/>
                <a:gd name="T14" fmla="*/ 31 w 36"/>
                <a:gd name="T15" fmla="*/ 28 h 37"/>
                <a:gd name="T16" fmla="*/ 36 w 36"/>
                <a:gd name="T17" fmla="*/ 31 h 37"/>
                <a:gd name="T18" fmla="*/ 33 w 36"/>
                <a:gd name="T19" fmla="*/ 36 h 37"/>
                <a:gd name="T20" fmla="*/ 23 w 36"/>
                <a:gd name="T21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" h="37">
                  <a:moveTo>
                    <a:pt x="23" y="37"/>
                  </a:moveTo>
                  <a:cubicBezTo>
                    <a:pt x="18" y="37"/>
                    <a:pt x="14" y="35"/>
                    <a:pt x="10" y="32"/>
                  </a:cubicBezTo>
                  <a:cubicBezTo>
                    <a:pt x="0" y="23"/>
                    <a:pt x="4" y="4"/>
                    <a:pt x="4" y="3"/>
                  </a:cubicBezTo>
                  <a:cubicBezTo>
                    <a:pt x="4" y="1"/>
                    <a:pt x="6" y="0"/>
                    <a:pt x="9" y="0"/>
                  </a:cubicBezTo>
                  <a:cubicBezTo>
                    <a:pt x="11" y="0"/>
                    <a:pt x="12" y="3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1" y="9"/>
                    <a:pt x="10" y="21"/>
                    <a:pt x="16" y="26"/>
                  </a:cubicBezTo>
                  <a:cubicBezTo>
                    <a:pt x="19" y="29"/>
                    <a:pt x="24" y="29"/>
                    <a:pt x="31" y="28"/>
                  </a:cubicBezTo>
                  <a:cubicBezTo>
                    <a:pt x="33" y="27"/>
                    <a:pt x="35" y="28"/>
                    <a:pt x="36" y="31"/>
                  </a:cubicBezTo>
                  <a:cubicBezTo>
                    <a:pt x="36" y="33"/>
                    <a:pt x="35" y="35"/>
                    <a:pt x="33" y="36"/>
                  </a:cubicBezTo>
                  <a:cubicBezTo>
                    <a:pt x="29" y="36"/>
                    <a:pt x="26" y="37"/>
                    <a:pt x="23" y="3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2" name="Freeform 83">
              <a:extLst>
                <a:ext uri="{FF2B5EF4-FFF2-40B4-BE49-F238E27FC236}">
                  <a16:creationId xmlns:a16="http://schemas.microsoft.com/office/drawing/2014/main" id="{DE780503-CE7B-6B38-5B65-E99DF1CBD408}"/>
                </a:ext>
              </a:extLst>
            </p:cNvPr>
            <p:cNvSpPr>
              <a:spLocks/>
            </p:cNvSpPr>
            <p:nvPr/>
          </p:nvSpPr>
          <p:spPr bwMode="auto">
            <a:xfrm>
              <a:off x="-8686143" y="1423437"/>
              <a:ext cx="97832" cy="73374"/>
            </a:xfrm>
            <a:custGeom>
              <a:avLst/>
              <a:gdLst>
                <a:gd name="T0" fmla="*/ 4 w 39"/>
                <a:gd name="T1" fmla="*/ 28 h 28"/>
                <a:gd name="T2" fmla="*/ 2 w 39"/>
                <a:gd name="T3" fmla="*/ 27 h 28"/>
                <a:gd name="T4" fmla="*/ 1 w 39"/>
                <a:gd name="T5" fmla="*/ 22 h 28"/>
                <a:gd name="T6" fmla="*/ 36 w 39"/>
                <a:gd name="T7" fmla="*/ 6 h 28"/>
                <a:gd name="T8" fmla="*/ 38 w 39"/>
                <a:gd name="T9" fmla="*/ 11 h 28"/>
                <a:gd name="T10" fmla="*/ 33 w 39"/>
                <a:gd name="T11" fmla="*/ 13 h 28"/>
                <a:gd name="T12" fmla="*/ 8 w 39"/>
                <a:gd name="T13" fmla="*/ 26 h 28"/>
                <a:gd name="T14" fmla="*/ 4 w 39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28">
                  <a:moveTo>
                    <a:pt x="4" y="28"/>
                  </a:moveTo>
                  <a:cubicBezTo>
                    <a:pt x="4" y="28"/>
                    <a:pt x="3" y="28"/>
                    <a:pt x="2" y="27"/>
                  </a:cubicBezTo>
                  <a:cubicBezTo>
                    <a:pt x="0" y="26"/>
                    <a:pt x="0" y="24"/>
                    <a:pt x="1" y="22"/>
                  </a:cubicBezTo>
                  <a:cubicBezTo>
                    <a:pt x="2" y="21"/>
                    <a:pt x="15" y="0"/>
                    <a:pt x="36" y="6"/>
                  </a:cubicBezTo>
                  <a:cubicBezTo>
                    <a:pt x="38" y="6"/>
                    <a:pt x="39" y="8"/>
                    <a:pt x="38" y="11"/>
                  </a:cubicBezTo>
                  <a:cubicBezTo>
                    <a:pt x="38" y="13"/>
                    <a:pt x="36" y="14"/>
                    <a:pt x="33" y="13"/>
                  </a:cubicBezTo>
                  <a:cubicBezTo>
                    <a:pt x="19" y="9"/>
                    <a:pt x="8" y="26"/>
                    <a:pt x="8" y="26"/>
                  </a:cubicBezTo>
                  <a:cubicBezTo>
                    <a:pt x="7" y="27"/>
                    <a:pt x="6" y="28"/>
                    <a:pt x="4" y="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3" name="Freeform 84">
              <a:extLst>
                <a:ext uri="{FF2B5EF4-FFF2-40B4-BE49-F238E27FC236}">
                  <a16:creationId xmlns:a16="http://schemas.microsoft.com/office/drawing/2014/main" id="{3941D923-C3A7-919F-A808-28B385A9D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-8808433" y="1509042"/>
              <a:ext cx="73374" cy="52994"/>
            </a:xfrm>
            <a:custGeom>
              <a:avLst/>
              <a:gdLst>
                <a:gd name="T0" fmla="*/ 18 w 29"/>
                <a:gd name="T1" fmla="*/ 20 h 20"/>
                <a:gd name="T2" fmla="*/ 4 w 29"/>
                <a:gd name="T3" fmla="*/ 14 h 20"/>
                <a:gd name="T4" fmla="*/ 2 w 29"/>
                <a:gd name="T5" fmla="*/ 3 h 20"/>
                <a:gd name="T6" fmla="*/ 7 w 29"/>
                <a:gd name="T7" fmla="*/ 1 h 20"/>
                <a:gd name="T8" fmla="*/ 10 w 29"/>
                <a:gd name="T9" fmla="*/ 6 h 20"/>
                <a:gd name="T10" fmla="*/ 10 w 29"/>
                <a:gd name="T11" fmla="*/ 9 h 20"/>
                <a:gd name="T12" fmla="*/ 24 w 29"/>
                <a:gd name="T13" fmla="*/ 11 h 20"/>
                <a:gd name="T14" fmla="*/ 29 w 29"/>
                <a:gd name="T15" fmla="*/ 15 h 20"/>
                <a:gd name="T16" fmla="*/ 25 w 29"/>
                <a:gd name="T17" fmla="*/ 19 h 20"/>
                <a:gd name="T18" fmla="*/ 18 w 29"/>
                <a:gd name="T1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20">
                  <a:moveTo>
                    <a:pt x="18" y="20"/>
                  </a:moveTo>
                  <a:cubicBezTo>
                    <a:pt x="11" y="20"/>
                    <a:pt x="6" y="18"/>
                    <a:pt x="4" y="14"/>
                  </a:cubicBezTo>
                  <a:cubicBezTo>
                    <a:pt x="0" y="10"/>
                    <a:pt x="2" y="4"/>
                    <a:pt x="2" y="3"/>
                  </a:cubicBezTo>
                  <a:cubicBezTo>
                    <a:pt x="3" y="1"/>
                    <a:pt x="5" y="0"/>
                    <a:pt x="7" y="1"/>
                  </a:cubicBezTo>
                  <a:cubicBezTo>
                    <a:pt x="9" y="2"/>
                    <a:pt x="11" y="4"/>
                    <a:pt x="10" y="6"/>
                  </a:cubicBezTo>
                  <a:cubicBezTo>
                    <a:pt x="10" y="6"/>
                    <a:pt x="9" y="8"/>
                    <a:pt x="10" y="9"/>
                  </a:cubicBezTo>
                  <a:cubicBezTo>
                    <a:pt x="11" y="10"/>
                    <a:pt x="14" y="12"/>
                    <a:pt x="24" y="11"/>
                  </a:cubicBezTo>
                  <a:cubicBezTo>
                    <a:pt x="26" y="11"/>
                    <a:pt x="28" y="12"/>
                    <a:pt x="29" y="15"/>
                  </a:cubicBezTo>
                  <a:cubicBezTo>
                    <a:pt x="29" y="17"/>
                    <a:pt x="27" y="19"/>
                    <a:pt x="25" y="19"/>
                  </a:cubicBezTo>
                  <a:cubicBezTo>
                    <a:pt x="23" y="20"/>
                    <a:pt x="20" y="20"/>
                    <a:pt x="18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4" name="Freeform 85">
              <a:extLst>
                <a:ext uri="{FF2B5EF4-FFF2-40B4-BE49-F238E27FC236}">
                  <a16:creationId xmlns:a16="http://schemas.microsoft.com/office/drawing/2014/main" id="{80FDAEB6-E326-42E0-CF19-2359EEC16E3B}"/>
                </a:ext>
              </a:extLst>
            </p:cNvPr>
            <p:cNvSpPr>
              <a:spLocks/>
            </p:cNvSpPr>
            <p:nvPr/>
          </p:nvSpPr>
          <p:spPr bwMode="auto">
            <a:xfrm>
              <a:off x="-8563852" y="1341910"/>
              <a:ext cx="105985" cy="101910"/>
            </a:xfrm>
            <a:custGeom>
              <a:avLst/>
              <a:gdLst>
                <a:gd name="T0" fmla="*/ 14 w 41"/>
                <a:gd name="T1" fmla="*/ 41 h 41"/>
                <a:gd name="T2" fmla="*/ 2 w 41"/>
                <a:gd name="T3" fmla="*/ 36 h 41"/>
                <a:gd name="T4" fmla="*/ 1 w 41"/>
                <a:gd name="T5" fmla="*/ 30 h 41"/>
                <a:gd name="T6" fmla="*/ 7 w 41"/>
                <a:gd name="T7" fmla="*/ 29 h 41"/>
                <a:gd name="T8" fmla="*/ 16 w 41"/>
                <a:gd name="T9" fmla="*/ 32 h 41"/>
                <a:gd name="T10" fmla="*/ 33 w 41"/>
                <a:gd name="T11" fmla="*/ 4 h 41"/>
                <a:gd name="T12" fmla="*/ 38 w 41"/>
                <a:gd name="T13" fmla="*/ 1 h 41"/>
                <a:gd name="T14" fmla="*/ 41 w 41"/>
                <a:gd name="T15" fmla="*/ 6 h 41"/>
                <a:gd name="T16" fmla="*/ 19 w 41"/>
                <a:gd name="T17" fmla="*/ 40 h 41"/>
                <a:gd name="T18" fmla="*/ 14 w 41"/>
                <a:gd name="T19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1">
                  <a:moveTo>
                    <a:pt x="14" y="41"/>
                  </a:moveTo>
                  <a:cubicBezTo>
                    <a:pt x="10" y="41"/>
                    <a:pt x="6" y="39"/>
                    <a:pt x="2" y="36"/>
                  </a:cubicBezTo>
                  <a:cubicBezTo>
                    <a:pt x="0" y="35"/>
                    <a:pt x="0" y="32"/>
                    <a:pt x="1" y="30"/>
                  </a:cubicBezTo>
                  <a:cubicBezTo>
                    <a:pt x="3" y="28"/>
                    <a:pt x="5" y="28"/>
                    <a:pt x="7" y="29"/>
                  </a:cubicBezTo>
                  <a:cubicBezTo>
                    <a:pt x="12" y="33"/>
                    <a:pt x="15" y="32"/>
                    <a:pt x="16" y="32"/>
                  </a:cubicBezTo>
                  <a:cubicBezTo>
                    <a:pt x="25" y="29"/>
                    <a:pt x="31" y="10"/>
                    <a:pt x="33" y="4"/>
                  </a:cubicBezTo>
                  <a:cubicBezTo>
                    <a:pt x="33" y="2"/>
                    <a:pt x="35" y="0"/>
                    <a:pt x="38" y="1"/>
                  </a:cubicBezTo>
                  <a:cubicBezTo>
                    <a:pt x="40" y="2"/>
                    <a:pt x="41" y="4"/>
                    <a:pt x="41" y="6"/>
                  </a:cubicBezTo>
                  <a:cubicBezTo>
                    <a:pt x="40" y="9"/>
                    <a:pt x="33" y="35"/>
                    <a:pt x="19" y="40"/>
                  </a:cubicBezTo>
                  <a:cubicBezTo>
                    <a:pt x="17" y="40"/>
                    <a:pt x="15" y="41"/>
                    <a:pt x="14" y="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5" name="Freeform 86">
              <a:extLst>
                <a:ext uri="{FF2B5EF4-FFF2-40B4-BE49-F238E27FC236}">
                  <a16:creationId xmlns:a16="http://schemas.microsoft.com/office/drawing/2014/main" id="{46271EE7-2E1A-D9B4-372C-64E7356714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8694295" y="1019880"/>
              <a:ext cx="216048" cy="342413"/>
            </a:xfrm>
            <a:custGeom>
              <a:avLst/>
              <a:gdLst>
                <a:gd name="T0" fmla="*/ 43 w 87"/>
                <a:gd name="T1" fmla="*/ 136 h 136"/>
                <a:gd name="T2" fmla="*/ 24 w 87"/>
                <a:gd name="T3" fmla="*/ 118 h 136"/>
                <a:gd name="T4" fmla="*/ 24 w 87"/>
                <a:gd name="T5" fmla="*/ 116 h 136"/>
                <a:gd name="T6" fmla="*/ 8 w 87"/>
                <a:gd name="T7" fmla="*/ 67 h 136"/>
                <a:gd name="T8" fmla="*/ 1 w 87"/>
                <a:gd name="T9" fmla="*/ 39 h 136"/>
                <a:gd name="T10" fmla="*/ 39 w 87"/>
                <a:gd name="T11" fmla="*/ 1 h 136"/>
                <a:gd name="T12" fmla="*/ 73 w 87"/>
                <a:gd name="T13" fmla="*/ 12 h 136"/>
                <a:gd name="T14" fmla="*/ 87 w 87"/>
                <a:gd name="T15" fmla="*/ 44 h 136"/>
                <a:gd name="T16" fmla="*/ 79 w 87"/>
                <a:gd name="T17" fmla="*/ 68 h 136"/>
                <a:gd name="T18" fmla="*/ 63 w 87"/>
                <a:gd name="T19" fmla="*/ 118 h 136"/>
                <a:gd name="T20" fmla="*/ 43 w 87"/>
                <a:gd name="T21" fmla="*/ 136 h 136"/>
                <a:gd name="T22" fmla="*/ 44 w 87"/>
                <a:gd name="T23" fmla="*/ 9 h 136"/>
                <a:gd name="T24" fmla="*/ 40 w 87"/>
                <a:gd name="T25" fmla="*/ 9 h 136"/>
                <a:gd name="T26" fmla="*/ 10 w 87"/>
                <a:gd name="T27" fmla="*/ 40 h 136"/>
                <a:gd name="T28" fmla="*/ 15 w 87"/>
                <a:gd name="T29" fmla="*/ 63 h 136"/>
                <a:gd name="T30" fmla="*/ 32 w 87"/>
                <a:gd name="T31" fmla="*/ 116 h 136"/>
                <a:gd name="T32" fmla="*/ 32 w 87"/>
                <a:gd name="T33" fmla="*/ 118 h 136"/>
                <a:gd name="T34" fmla="*/ 43 w 87"/>
                <a:gd name="T35" fmla="*/ 128 h 136"/>
                <a:gd name="T36" fmla="*/ 54 w 87"/>
                <a:gd name="T37" fmla="*/ 118 h 136"/>
                <a:gd name="T38" fmla="*/ 73 w 87"/>
                <a:gd name="T39" fmla="*/ 64 h 136"/>
                <a:gd name="T40" fmla="*/ 79 w 87"/>
                <a:gd name="T41" fmla="*/ 44 h 136"/>
                <a:gd name="T42" fmla="*/ 67 w 87"/>
                <a:gd name="T43" fmla="*/ 18 h 136"/>
                <a:gd name="T44" fmla="*/ 44 w 87"/>
                <a:gd name="T45" fmla="*/ 9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7" h="136">
                  <a:moveTo>
                    <a:pt x="43" y="136"/>
                  </a:moveTo>
                  <a:cubicBezTo>
                    <a:pt x="33" y="136"/>
                    <a:pt x="25" y="128"/>
                    <a:pt x="24" y="118"/>
                  </a:cubicBezTo>
                  <a:cubicBezTo>
                    <a:pt x="24" y="116"/>
                    <a:pt x="24" y="116"/>
                    <a:pt x="24" y="116"/>
                  </a:cubicBezTo>
                  <a:cubicBezTo>
                    <a:pt x="24" y="99"/>
                    <a:pt x="18" y="82"/>
                    <a:pt x="8" y="67"/>
                  </a:cubicBezTo>
                  <a:cubicBezTo>
                    <a:pt x="3" y="59"/>
                    <a:pt x="0" y="49"/>
                    <a:pt x="1" y="39"/>
                  </a:cubicBezTo>
                  <a:cubicBezTo>
                    <a:pt x="4" y="19"/>
                    <a:pt x="20" y="3"/>
                    <a:pt x="39" y="1"/>
                  </a:cubicBezTo>
                  <a:cubicBezTo>
                    <a:pt x="51" y="0"/>
                    <a:pt x="64" y="4"/>
                    <a:pt x="73" y="12"/>
                  </a:cubicBezTo>
                  <a:cubicBezTo>
                    <a:pt x="82" y="20"/>
                    <a:pt x="87" y="31"/>
                    <a:pt x="87" y="44"/>
                  </a:cubicBezTo>
                  <a:cubicBezTo>
                    <a:pt x="87" y="53"/>
                    <a:pt x="84" y="61"/>
                    <a:pt x="79" y="68"/>
                  </a:cubicBezTo>
                  <a:cubicBezTo>
                    <a:pt x="69" y="83"/>
                    <a:pt x="63" y="100"/>
                    <a:pt x="63" y="118"/>
                  </a:cubicBezTo>
                  <a:cubicBezTo>
                    <a:pt x="62" y="128"/>
                    <a:pt x="54" y="136"/>
                    <a:pt x="43" y="136"/>
                  </a:cubicBezTo>
                  <a:close/>
                  <a:moveTo>
                    <a:pt x="44" y="9"/>
                  </a:moveTo>
                  <a:cubicBezTo>
                    <a:pt x="43" y="9"/>
                    <a:pt x="41" y="9"/>
                    <a:pt x="40" y="9"/>
                  </a:cubicBezTo>
                  <a:cubicBezTo>
                    <a:pt x="24" y="11"/>
                    <a:pt x="11" y="24"/>
                    <a:pt x="10" y="40"/>
                  </a:cubicBezTo>
                  <a:cubicBezTo>
                    <a:pt x="9" y="48"/>
                    <a:pt x="11" y="56"/>
                    <a:pt x="15" y="63"/>
                  </a:cubicBezTo>
                  <a:cubicBezTo>
                    <a:pt x="26" y="79"/>
                    <a:pt x="32" y="97"/>
                    <a:pt x="32" y="116"/>
                  </a:cubicBezTo>
                  <a:cubicBezTo>
                    <a:pt x="32" y="118"/>
                    <a:pt x="32" y="118"/>
                    <a:pt x="32" y="118"/>
                  </a:cubicBezTo>
                  <a:cubicBezTo>
                    <a:pt x="33" y="124"/>
                    <a:pt x="37" y="128"/>
                    <a:pt x="43" y="128"/>
                  </a:cubicBezTo>
                  <a:cubicBezTo>
                    <a:pt x="49" y="128"/>
                    <a:pt x="54" y="124"/>
                    <a:pt x="54" y="118"/>
                  </a:cubicBezTo>
                  <a:cubicBezTo>
                    <a:pt x="55" y="98"/>
                    <a:pt x="61" y="80"/>
                    <a:pt x="73" y="64"/>
                  </a:cubicBezTo>
                  <a:cubicBezTo>
                    <a:pt x="77" y="58"/>
                    <a:pt x="79" y="51"/>
                    <a:pt x="79" y="44"/>
                  </a:cubicBezTo>
                  <a:cubicBezTo>
                    <a:pt x="79" y="34"/>
                    <a:pt x="75" y="24"/>
                    <a:pt x="67" y="18"/>
                  </a:cubicBezTo>
                  <a:cubicBezTo>
                    <a:pt x="61" y="12"/>
                    <a:pt x="53" y="9"/>
                    <a:pt x="44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6" name="Freeform 87">
              <a:extLst>
                <a:ext uri="{FF2B5EF4-FFF2-40B4-BE49-F238E27FC236}">
                  <a16:creationId xmlns:a16="http://schemas.microsoft.com/office/drawing/2014/main" id="{06DB6D3F-B765-3ADC-1875-45F58F2C0ED8}"/>
                </a:ext>
              </a:extLst>
            </p:cNvPr>
            <p:cNvSpPr>
              <a:spLocks/>
            </p:cNvSpPr>
            <p:nvPr/>
          </p:nvSpPr>
          <p:spPr bwMode="auto">
            <a:xfrm>
              <a:off x="-8637227" y="1256308"/>
              <a:ext cx="105985" cy="32611"/>
            </a:xfrm>
            <a:custGeom>
              <a:avLst/>
              <a:gdLst>
                <a:gd name="T0" fmla="*/ 21 w 42"/>
                <a:gd name="T1" fmla="*/ 12 h 12"/>
                <a:gd name="T2" fmla="*/ 3 w 42"/>
                <a:gd name="T3" fmla="*/ 8 h 12"/>
                <a:gd name="T4" fmla="*/ 1 w 42"/>
                <a:gd name="T5" fmla="*/ 2 h 12"/>
                <a:gd name="T6" fmla="*/ 7 w 42"/>
                <a:gd name="T7" fmla="*/ 1 h 12"/>
                <a:gd name="T8" fmla="*/ 35 w 42"/>
                <a:gd name="T9" fmla="*/ 1 h 12"/>
                <a:gd name="T10" fmla="*/ 41 w 42"/>
                <a:gd name="T11" fmla="*/ 3 h 12"/>
                <a:gd name="T12" fmla="*/ 39 w 42"/>
                <a:gd name="T13" fmla="*/ 8 h 12"/>
                <a:gd name="T14" fmla="*/ 21 w 42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12">
                  <a:moveTo>
                    <a:pt x="21" y="12"/>
                  </a:moveTo>
                  <a:cubicBezTo>
                    <a:pt x="10" y="12"/>
                    <a:pt x="3" y="8"/>
                    <a:pt x="3" y="8"/>
                  </a:cubicBezTo>
                  <a:cubicBezTo>
                    <a:pt x="1" y="7"/>
                    <a:pt x="0" y="4"/>
                    <a:pt x="1" y="2"/>
                  </a:cubicBezTo>
                  <a:cubicBezTo>
                    <a:pt x="2" y="0"/>
                    <a:pt x="5" y="0"/>
                    <a:pt x="7" y="1"/>
                  </a:cubicBezTo>
                  <a:cubicBezTo>
                    <a:pt x="7" y="1"/>
                    <a:pt x="20" y="8"/>
                    <a:pt x="35" y="1"/>
                  </a:cubicBezTo>
                  <a:cubicBezTo>
                    <a:pt x="37" y="0"/>
                    <a:pt x="40" y="1"/>
                    <a:pt x="41" y="3"/>
                  </a:cubicBezTo>
                  <a:cubicBezTo>
                    <a:pt x="42" y="5"/>
                    <a:pt x="41" y="7"/>
                    <a:pt x="39" y="8"/>
                  </a:cubicBezTo>
                  <a:cubicBezTo>
                    <a:pt x="32" y="11"/>
                    <a:pt x="26" y="12"/>
                    <a:pt x="21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7" name="Freeform 88">
              <a:extLst>
                <a:ext uri="{FF2B5EF4-FFF2-40B4-BE49-F238E27FC236}">
                  <a16:creationId xmlns:a16="http://schemas.microsoft.com/office/drawing/2014/main" id="{4D97EC47-5F7C-919F-0430-0F60B4086D63}"/>
                </a:ext>
              </a:extLst>
            </p:cNvPr>
            <p:cNvSpPr>
              <a:spLocks/>
            </p:cNvSpPr>
            <p:nvPr/>
          </p:nvSpPr>
          <p:spPr bwMode="auto">
            <a:xfrm>
              <a:off x="-8596463" y="926123"/>
              <a:ext cx="20383" cy="52994"/>
            </a:xfrm>
            <a:custGeom>
              <a:avLst/>
              <a:gdLst>
                <a:gd name="T0" fmla="*/ 4 w 8"/>
                <a:gd name="T1" fmla="*/ 22 h 22"/>
                <a:gd name="T2" fmla="*/ 0 w 8"/>
                <a:gd name="T3" fmla="*/ 18 h 22"/>
                <a:gd name="T4" fmla="*/ 0 w 8"/>
                <a:gd name="T5" fmla="*/ 4 h 22"/>
                <a:gd name="T6" fmla="*/ 4 w 8"/>
                <a:gd name="T7" fmla="*/ 0 h 22"/>
                <a:gd name="T8" fmla="*/ 8 w 8"/>
                <a:gd name="T9" fmla="*/ 4 h 22"/>
                <a:gd name="T10" fmla="*/ 8 w 8"/>
                <a:gd name="T11" fmla="*/ 18 h 22"/>
                <a:gd name="T12" fmla="*/ 4 w 8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2">
                  <a:moveTo>
                    <a:pt x="4" y="22"/>
                  </a:moveTo>
                  <a:cubicBezTo>
                    <a:pt x="2" y="22"/>
                    <a:pt x="0" y="20"/>
                    <a:pt x="0" y="1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20"/>
                    <a:pt x="6" y="22"/>
                    <a:pt x="4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8" name="Freeform 89">
              <a:extLst>
                <a:ext uri="{FF2B5EF4-FFF2-40B4-BE49-F238E27FC236}">
                  <a16:creationId xmlns:a16="http://schemas.microsoft.com/office/drawing/2014/main" id="{96FB497D-654C-2B5C-B54D-ADC0B12B1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-8718754" y="970964"/>
              <a:ext cx="44841" cy="48916"/>
            </a:xfrm>
            <a:custGeom>
              <a:avLst/>
              <a:gdLst>
                <a:gd name="T0" fmla="*/ 13 w 18"/>
                <a:gd name="T1" fmla="*/ 19 h 19"/>
                <a:gd name="T2" fmla="*/ 10 w 18"/>
                <a:gd name="T3" fmla="*/ 17 h 19"/>
                <a:gd name="T4" fmla="*/ 1 w 18"/>
                <a:gd name="T5" fmla="*/ 7 h 19"/>
                <a:gd name="T6" fmla="*/ 2 w 18"/>
                <a:gd name="T7" fmla="*/ 1 h 19"/>
                <a:gd name="T8" fmla="*/ 8 w 18"/>
                <a:gd name="T9" fmla="*/ 2 h 19"/>
                <a:gd name="T10" fmla="*/ 16 w 18"/>
                <a:gd name="T11" fmla="*/ 12 h 19"/>
                <a:gd name="T12" fmla="*/ 16 w 18"/>
                <a:gd name="T13" fmla="*/ 18 h 19"/>
                <a:gd name="T14" fmla="*/ 13 w 18"/>
                <a:gd name="T1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9">
                  <a:moveTo>
                    <a:pt x="13" y="19"/>
                  </a:moveTo>
                  <a:cubicBezTo>
                    <a:pt x="12" y="19"/>
                    <a:pt x="11" y="18"/>
                    <a:pt x="10" y="1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5"/>
                    <a:pt x="0" y="3"/>
                    <a:pt x="2" y="1"/>
                  </a:cubicBezTo>
                  <a:cubicBezTo>
                    <a:pt x="4" y="0"/>
                    <a:pt x="6" y="0"/>
                    <a:pt x="8" y="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8" y="14"/>
                    <a:pt x="18" y="17"/>
                    <a:pt x="16" y="18"/>
                  </a:cubicBezTo>
                  <a:cubicBezTo>
                    <a:pt x="15" y="19"/>
                    <a:pt x="14" y="19"/>
                    <a:pt x="13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9" name="Freeform 90">
              <a:extLst>
                <a:ext uri="{FF2B5EF4-FFF2-40B4-BE49-F238E27FC236}">
                  <a16:creationId xmlns:a16="http://schemas.microsoft.com/office/drawing/2014/main" id="{BC24C3E3-4A7F-FC9F-FC8C-EE0B3569BA25}"/>
                </a:ext>
              </a:extLst>
            </p:cNvPr>
            <p:cNvSpPr>
              <a:spLocks/>
            </p:cNvSpPr>
            <p:nvPr/>
          </p:nvSpPr>
          <p:spPr bwMode="auto">
            <a:xfrm>
              <a:off x="-8788053" y="1085102"/>
              <a:ext cx="57069" cy="28536"/>
            </a:xfrm>
            <a:custGeom>
              <a:avLst/>
              <a:gdLst>
                <a:gd name="T0" fmla="*/ 18 w 22"/>
                <a:gd name="T1" fmla="*/ 11 h 11"/>
                <a:gd name="T2" fmla="*/ 17 w 22"/>
                <a:gd name="T3" fmla="*/ 11 h 11"/>
                <a:gd name="T4" fmla="*/ 4 w 22"/>
                <a:gd name="T5" fmla="*/ 8 h 11"/>
                <a:gd name="T6" fmla="*/ 0 w 22"/>
                <a:gd name="T7" fmla="*/ 3 h 11"/>
                <a:gd name="T8" fmla="*/ 5 w 22"/>
                <a:gd name="T9" fmla="*/ 0 h 11"/>
                <a:gd name="T10" fmla="*/ 18 w 22"/>
                <a:gd name="T11" fmla="*/ 2 h 11"/>
                <a:gd name="T12" fmla="*/ 22 w 22"/>
                <a:gd name="T13" fmla="*/ 7 h 11"/>
                <a:gd name="T14" fmla="*/ 18 w 22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11">
                  <a:moveTo>
                    <a:pt x="18" y="11"/>
                  </a:moveTo>
                  <a:cubicBezTo>
                    <a:pt x="17" y="11"/>
                    <a:pt x="17" y="11"/>
                    <a:pt x="17" y="11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1" y="8"/>
                    <a:pt x="0" y="6"/>
                    <a:pt x="0" y="3"/>
                  </a:cubicBezTo>
                  <a:cubicBezTo>
                    <a:pt x="1" y="1"/>
                    <a:pt x="3" y="0"/>
                    <a:pt x="5" y="0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20" y="3"/>
                    <a:pt x="22" y="5"/>
                    <a:pt x="22" y="7"/>
                  </a:cubicBezTo>
                  <a:cubicBezTo>
                    <a:pt x="21" y="9"/>
                    <a:pt x="19" y="11"/>
                    <a:pt x="18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0" name="Freeform 91">
              <a:extLst>
                <a:ext uri="{FF2B5EF4-FFF2-40B4-BE49-F238E27FC236}">
                  <a16:creationId xmlns:a16="http://schemas.microsoft.com/office/drawing/2014/main" id="{AB840FC0-93DC-B0D6-1343-C6ED7B28E87D}"/>
                </a:ext>
              </a:extLst>
            </p:cNvPr>
            <p:cNvSpPr>
              <a:spLocks/>
            </p:cNvSpPr>
            <p:nvPr/>
          </p:nvSpPr>
          <p:spPr bwMode="auto">
            <a:xfrm>
              <a:off x="-8763595" y="1199240"/>
              <a:ext cx="52994" cy="40763"/>
            </a:xfrm>
            <a:custGeom>
              <a:avLst/>
              <a:gdLst>
                <a:gd name="T0" fmla="*/ 4 w 21"/>
                <a:gd name="T1" fmla="*/ 15 h 15"/>
                <a:gd name="T2" fmla="*/ 1 w 21"/>
                <a:gd name="T3" fmla="*/ 13 h 15"/>
                <a:gd name="T4" fmla="*/ 2 w 21"/>
                <a:gd name="T5" fmla="*/ 7 h 15"/>
                <a:gd name="T6" fmla="*/ 14 w 21"/>
                <a:gd name="T7" fmla="*/ 1 h 15"/>
                <a:gd name="T8" fmla="*/ 20 w 21"/>
                <a:gd name="T9" fmla="*/ 2 h 15"/>
                <a:gd name="T10" fmla="*/ 18 w 21"/>
                <a:gd name="T11" fmla="*/ 8 h 15"/>
                <a:gd name="T12" fmla="*/ 6 w 21"/>
                <a:gd name="T13" fmla="*/ 15 h 15"/>
                <a:gd name="T14" fmla="*/ 4 w 21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15">
                  <a:moveTo>
                    <a:pt x="4" y="15"/>
                  </a:moveTo>
                  <a:cubicBezTo>
                    <a:pt x="3" y="15"/>
                    <a:pt x="2" y="14"/>
                    <a:pt x="1" y="13"/>
                  </a:cubicBezTo>
                  <a:cubicBezTo>
                    <a:pt x="0" y="11"/>
                    <a:pt x="0" y="9"/>
                    <a:pt x="2" y="7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6" y="0"/>
                    <a:pt x="18" y="0"/>
                    <a:pt x="20" y="2"/>
                  </a:cubicBezTo>
                  <a:cubicBezTo>
                    <a:pt x="21" y="4"/>
                    <a:pt x="20" y="7"/>
                    <a:pt x="18" y="8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5" y="15"/>
                    <a:pt x="4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1" name="Freeform 92">
              <a:extLst>
                <a:ext uri="{FF2B5EF4-FFF2-40B4-BE49-F238E27FC236}">
                  <a16:creationId xmlns:a16="http://schemas.microsoft.com/office/drawing/2014/main" id="{116EB94C-CEC3-CE8D-7301-8185577D5D26}"/>
                </a:ext>
              </a:extLst>
            </p:cNvPr>
            <p:cNvSpPr>
              <a:spLocks/>
            </p:cNvSpPr>
            <p:nvPr/>
          </p:nvSpPr>
          <p:spPr bwMode="auto">
            <a:xfrm>
              <a:off x="-8457867" y="1199240"/>
              <a:ext cx="52994" cy="40763"/>
            </a:xfrm>
            <a:custGeom>
              <a:avLst/>
              <a:gdLst>
                <a:gd name="T0" fmla="*/ 17 w 22"/>
                <a:gd name="T1" fmla="*/ 15 h 15"/>
                <a:gd name="T2" fmla="*/ 15 w 22"/>
                <a:gd name="T3" fmla="*/ 15 h 15"/>
                <a:gd name="T4" fmla="*/ 3 w 22"/>
                <a:gd name="T5" fmla="*/ 8 h 15"/>
                <a:gd name="T6" fmla="*/ 2 w 22"/>
                <a:gd name="T7" fmla="*/ 2 h 15"/>
                <a:gd name="T8" fmla="*/ 7 w 22"/>
                <a:gd name="T9" fmla="*/ 1 h 15"/>
                <a:gd name="T10" fmla="*/ 19 w 22"/>
                <a:gd name="T11" fmla="*/ 7 h 15"/>
                <a:gd name="T12" fmla="*/ 20 w 22"/>
                <a:gd name="T13" fmla="*/ 13 h 15"/>
                <a:gd name="T14" fmla="*/ 17 w 22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15">
                  <a:moveTo>
                    <a:pt x="17" y="15"/>
                  </a:moveTo>
                  <a:cubicBezTo>
                    <a:pt x="16" y="15"/>
                    <a:pt x="15" y="15"/>
                    <a:pt x="15" y="15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1" y="7"/>
                    <a:pt x="0" y="4"/>
                    <a:pt x="2" y="2"/>
                  </a:cubicBezTo>
                  <a:cubicBezTo>
                    <a:pt x="3" y="0"/>
                    <a:pt x="5" y="0"/>
                    <a:pt x="7" y="1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1" y="9"/>
                    <a:pt x="22" y="11"/>
                    <a:pt x="20" y="13"/>
                  </a:cubicBezTo>
                  <a:cubicBezTo>
                    <a:pt x="20" y="14"/>
                    <a:pt x="18" y="15"/>
                    <a:pt x="17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2" name="Freeform 93">
              <a:extLst>
                <a:ext uri="{FF2B5EF4-FFF2-40B4-BE49-F238E27FC236}">
                  <a16:creationId xmlns:a16="http://schemas.microsoft.com/office/drawing/2014/main" id="{C6E40E95-237C-8378-5CE2-C3549F1DC077}"/>
                </a:ext>
              </a:extLst>
            </p:cNvPr>
            <p:cNvSpPr>
              <a:spLocks/>
            </p:cNvSpPr>
            <p:nvPr/>
          </p:nvSpPr>
          <p:spPr bwMode="auto">
            <a:xfrm>
              <a:off x="-8437487" y="1085102"/>
              <a:ext cx="52994" cy="28536"/>
            </a:xfrm>
            <a:custGeom>
              <a:avLst/>
              <a:gdLst>
                <a:gd name="T0" fmla="*/ 5 w 22"/>
                <a:gd name="T1" fmla="*/ 11 h 11"/>
                <a:gd name="T2" fmla="*/ 1 w 22"/>
                <a:gd name="T3" fmla="*/ 7 h 11"/>
                <a:gd name="T4" fmla="*/ 4 w 22"/>
                <a:gd name="T5" fmla="*/ 2 h 11"/>
                <a:gd name="T6" fmla="*/ 17 w 22"/>
                <a:gd name="T7" fmla="*/ 0 h 11"/>
                <a:gd name="T8" fmla="*/ 22 w 22"/>
                <a:gd name="T9" fmla="*/ 3 h 11"/>
                <a:gd name="T10" fmla="*/ 19 w 22"/>
                <a:gd name="T11" fmla="*/ 8 h 11"/>
                <a:gd name="T12" fmla="*/ 5 w 22"/>
                <a:gd name="T13" fmla="*/ 11 h 11"/>
                <a:gd name="T14" fmla="*/ 5 w 22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11">
                  <a:moveTo>
                    <a:pt x="5" y="11"/>
                  </a:moveTo>
                  <a:cubicBezTo>
                    <a:pt x="3" y="11"/>
                    <a:pt x="1" y="9"/>
                    <a:pt x="1" y="7"/>
                  </a:cubicBezTo>
                  <a:cubicBezTo>
                    <a:pt x="0" y="5"/>
                    <a:pt x="2" y="3"/>
                    <a:pt x="4" y="2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0" y="0"/>
                    <a:pt x="22" y="1"/>
                    <a:pt x="22" y="3"/>
                  </a:cubicBezTo>
                  <a:cubicBezTo>
                    <a:pt x="22" y="6"/>
                    <a:pt x="21" y="8"/>
                    <a:pt x="19" y="8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3" name="Freeform 94">
              <a:extLst>
                <a:ext uri="{FF2B5EF4-FFF2-40B4-BE49-F238E27FC236}">
                  <a16:creationId xmlns:a16="http://schemas.microsoft.com/office/drawing/2014/main" id="{1ACDE309-4DB3-8FF1-EE53-D3B3B0AAD5F6}"/>
                </a:ext>
              </a:extLst>
            </p:cNvPr>
            <p:cNvSpPr>
              <a:spLocks/>
            </p:cNvSpPr>
            <p:nvPr/>
          </p:nvSpPr>
          <p:spPr bwMode="auto">
            <a:xfrm>
              <a:off x="-8494556" y="970964"/>
              <a:ext cx="44841" cy="48916"/>
            </a:xfrm>
            <a:custGeom>
              <a:avLst/>
              <a:gdLst>
                <a:gd name="T0" fmla="*/ 5 w 18"/>
                <a:gd name="T1" fmla="*/ 19 h 19"/>
                <a:gd name="T2" fmla="*/ 2 w 18"/>
                <a:gd name="T3" fmla="*/ 18 h 19"/>
                <a:gd name="T4" fmla="*/ 2 w 18"/>
                <a:gd name="T5" fmla="*/ 12 h 19"/>
                <a:gd name="T6" fmla="*/ 10 w 18"/>
                <a:gd name="T7" fmla="*/ 2 h 19"/>
                <a:gd name="T8" fmla="*/ 16 w 18"/>
                <a:gd name="T9" fmla="*/ 1 h 19"/>
                <a:gd name="T10" fmla="*/ 17 w 18"/>
                <a:gd name="T11" fmla="*/ 7 h 19"/>
                <a:gd name="T12" fmla="*/ 8 w 18"/>
                <a:gd name="T13" fmla="*/ 17 h 19"/>
                <a:gd name="T14" fmla="*/ 5 w 18"/>
                <a:gd name="T1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9">
                  <a:moveTo>
                    <a:pt x="5" y="19"/>
                  </a:moveTo>
                  <a:cubicBezTo>
                    <a:pt x="4" y="19"/>
                    <a:pt x="3" y="19"/>
                    <a:pt x="2" y="18"/>
                  </a:cubicBezTo>
                  <a:cubicBezTo>
                    <a:pt x="1" y="17"/>
                    <a:pt x="0" y="14"/>
                    <a:pt x="2" y="1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2" y="0"/>
                    <a:pt x="15" y="0"/>
                    <a:pt x="16" y="1"/>
                  </a:cubicBezTo>
                  <a:cubicBezTo>
                    <a:pt x="18" y="3"/>
                    <a:pt x="18" y="5"/>
                    <a:pt x="17" y="7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7" y="18"/>
                    <a:pt x="6" y="19"/>
                    <a:pt x="5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0" name="Shape11_20200717_154352">
            <a:extLst>
              <a:ext uri="{FF2B5EF4-FFF2-40B4-BE49-F238E27FC236}">
                <a16:creationId xmlns:a16="http://schemas.microsoft.com/office/drawing/2014/main" id="{A9B088A3-E160-E94A-E203-0129026581D0}"/>
              </a:ext>
            </a:extLst>
          </p:cNvPr>
          <p:cNvGrpSpPr>
            <a:grpSpLocks noChangeAspect="1"/>
          </p:cNvGrpSpPr>
          <p:nvPr/>
        </p:nvGrpSpPr>
        <p:grpSpPr>
          <a:xfrm>
            <a:off x="1973968" y="3837428"/>
            <a:ext cx="542156" cy="676674"/>
            <a:chOff x="-7479544" y="5251128"/>
            <a:chExt cx="542156" cy="676674"/>
          </a:xfrm>
          <a:solidFill>
            <a:schemeClr val="accent1"/>
          </a:solidFill>
        </p:grpSpPr>
        <p:sp>
          <p:nvSpPr>
            <p:cNvPr id="201" name="Freeform 95">
              <a:extLst>
                <a:ext uri="{FF2B5EF4-FFF2-40B4-BE49-F238E27FC236}">
                  <a16:creationId xmlns:a16="http://schemas.microsoft.com/office/drawing/2014/main" id="{158C8194-043F-B31B-92CD-874FAAA03B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479544" y="5683221"/>
              <a:ext cx="101910" cy="244581"/>
            </a:xfrm>
            <a:custGeom>
              <a:avLst/>
              <a:gdLst>
                <a:gd name="T0" fmla="*/ 28 w 40"/>
                <a:gd name="T1" fmla="*/ 97 h 97"/>
                <a:gd name="T2" fmla="*/ 12 w 40"/>
                <a:gd name="T3" fmla="*/ 97 h 97"/>
                <a:gd name="T4" fmla="*/ 0 w 40"/>
                <a:gd name="T5" fmla="*/ 85 h 97"/>
                <a:gd name="T6" fmla="*/ 0 w 40"/>
                <a:gd name="T7" fmla="*/ 12 h 97"/>
                <a:gd name="T8" fmla="*/ 12 w 40"/>
                <a:gd name="T9" fmla="*/ 0 h 97"/>
                <a:gd name="T10" fmla="*/ 28 w 40"/>
                <a:gd name="T11" fmla="*/ 0 h 97"/>
                <a:gd name="T12" fmla="*/ 40 w 40"/>
                <a:gd name="T13" fmla="*/ 12 h 97"/>
                <a:gd name="T14" fmla="*/ 40 w 40"/>
                <a:gd name="T15" fmla="*/ 85 h 97"/>
                <a:gd name="T16" fmla="*/ 28 w 40"/>
                <a:gd name="T17" fmla="*/ 97 h 97"/>
                <a:gd name="T18" fmla="*/ 12 w 40"/>
                <a:gd name="T19" fmla="*/ 8 h 97"/>
                <a:gd name="T20" fmla="*/ 8 w 40"/>
                <a:gd name="T21" fmla="*/ 12 h 97"/>
                <a:gd name="T22" fmla="*/ 8 w 40"/>
                <a:gd name="T23" fmla="*/ 85 h 97"/>
                <a:gd name="T24" fmla="*/ 12 w 40"/>
                <a:gd name="T25" fmla="*/ 89 h 97"/>
                <a:gd name="T26" fmla="*/ 28 w 40"/>
                <a:gd name="T27" fmla="*/ 89 h 97"/>
                <a:gd name="T28" fmla="*/ 32 w 40"/>
                <a:gd name="T29" fmla="*/ 85 h 97"/>
                <a:gd name="T30" fmla="*/ 32 w 40"/>
                <a:gd name="T31" fmla="*/ 12 h 97"/>
                <a:gd name="T32" fmla="*/ 28 w 40"/>
                <a:gd name="T33" fmla="*/ 8 h 97"/>
                <a:gd name="T34" fmla="*/ 12 w 40"/>
                <a:gd name="T35" fmla="*/ 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" h="97">
                  <a:moveTo>
                    <a:pt x="28" y="97"/>
                  </a:moveTo>
                  <a:cubicBezTo>
                    <a:pt x="12" y="97"/>
                    <a:pt x="12" y="97"/>
                    <a:pt x="12" y="97"/>
                  </a:cubicBezTo>
                  <a:cubicBezTo>
                    <a:pt x="6" y="97"/>
                    <a:pt x="0" y="92"/>
                    <a:pt x="0" y="85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6" y="0"/>
                    <a:pt x="12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5" y="0"/>
                    <a:pt x="40" y="5"/>
                    <a:pt x="40" y="12"/>
                  </a:cubicBezTo>
                  <a:cubicBezTo>
                    <a:pt x="40" y="85"/>
                    <a:pt x="40" y="85"/>
                    <a:pt x="40" y="85"/>
                  </a:cubicBezTo>
                  <a:cubicBezTo>
                    <a:pt x="40" y="92"/>
                    <a:pt x="35" y="97"/>
                    <a:pt x="28" y="97"/>
                  </a:cubicBezTo>
                  <a:close/>
                  <a:moveTo>
                    <a:pt x="12" y="8"/>
                  </a:moveTo>
                  <a:cubicBezTo>
                    <a:pt x="10" y="8"/>
                    <a:pt x="8" y="10"/>
                    <a:pt x="8" y="12"/>
                  </a:cubicBezTo>
                  <a:cubicBezTo>
                    <a:pt x="8" y="85"/>
                    <a:pt x="8" y="85"/>
                    <a:pt x="8" y="85"/>
                  </a:cubicBezTo>
                  <a:cubicBezTo>
                    <a:pt x="8" y="87"/>
                    <a:pt x="10" y="89"/>
                    <a:pt x="12" y="89"/>
                  </a:cubicBezTo>
                  <a:cubicBezTo>
                    <a:pt x="28" y="89"/>
                    <a:pt x="28" y="89"/>
                    <a:pt x="28" y="89"/>
                  </a:cubicBezTo>
                  <a:cubicBezTo>
                    <a:pt x="30" y="89"/>
                    <a:pt x="32" y="87"/>
                    <a:pt x="32" y="85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2" y="10"/>
                    <a:pt x="30" y="8"/>
                    <a:pt x="28" y="8"/>
                  </a:cubicBezTo>
                  <a:lnTo>
                    <a:pt x="12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2" name="Freeform 96">
              <a:extLst>
                <a:ext uri="{FF2B5EF4-FFF2-40B4-BE49-F238E27FC236}">
                  <a16:creationId xmlns:a16="http://schemas.microsoft.com/office/drawing/2014/main" id="{1ACF673D-C4AA-B060-337B-F5D1D8AC4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98017" y="5699527"/>
              <a:ext cx="342413" cy="97832"/>
            </a:xfrm>
            <a:custGeom>
              <a:avLst/>
              <a:gdLst>
                <a:gd name="T0" fmla="*/ 56 w 137"/>
                <a:gd name="T1" fmla="*/ 39 h 39"/>
                <a:gd name="T2" fmla="*/ 52 w 137"/>
                <a:gd name="T3" fmla="*/ 36 h 39"/>
                <a:gd name="T4" fmla="*/ 55 w 137"/>
                <a:gd name="T5" fmla="*/ 31 h 39"/>
                <a:gd name="T6" fmla="*/ 78 w 137"/>
                <a:gd name="T7" fmla="*/ 24 h 39"/>
                <a:gd name="T8" fmla="*/ 80 w 137"/>
                <a:gd name="T9" fmla="*/ 24 h 39"/>
                <a:gd name="T10" fmla="*/ 123 w 137"/>
                <a:gd name="T11" fmla="*/ 30 h 39"/>
                <a:gd name="T12" fmla="*/ 127 w 137"/>
                <a:gd name="T13" fmla="*/ 26 h 39"/>
                <a:gd name="T14" fmla="*/ 128 w 137"/>
                <a:gd name="T15" fmla="*/ 25 h 39"/>
                <a:gd name="T16" fmla="*/ 125 w 137"/>
                <a:gd name="T17" fmla="*/ 20 h 39"/>
                <a:gd name="T18" fmla="*/ 77 w 137"/>
                <a:gd name="T19" fmla="*/ 8 h 39"/>
                <a:gd name="T20" fmla="*/ 5 w 137"/>
                <a:gd name="T21" fmla="*/ 22 h 39"/>
                <a:gd name="T22" fmla="*/ 0 w 137"/>
                <a:gd name="T23" fmla="*/ 18 h 39"/>
                <a:gd name="T24" fmla="*/ 3 w 137"/>
                <a:gd name="T25" fmla="*/ 13 h 39"/>
                <a:gd name="T26" fmla="*/ 76 w 137"/>
                <a:gd name="T27" fmla="*/ 0 h 39"/>
                <a:gd name="T28" fmla="*/ 78 w 137"/>
                <a:gd name="T29" fmla="*/ 0 h 39"/>
                <a:gd name="T30" fmla="*/ 126 w 137"/>
                <a:gd name="T31" fmla="*/ 12 h 39"/>
                <a:gd name="T32" fmla="*/ 136 w 137"/>
                <a:gd name="T33" fmla="*/ 27 h 39"/>
                <a:gd name="T34" fmla="*/ 135 w 137"/>
                <a:gd name="T35" fmla="*/ 28 h 39"/>
                <a:gd name="T36" fmla="*/ 121 w 137"/>
                <a:gd name="T37" fmla="*/ 38 h 39"/>
                <a:gd name="T38" fmla="*/ 79 w 137"/>
                <a:gd name="T39" fmla="*/ 32 h 39"/>
                <a:gd name="T40" fmla="*/ 57 w 137"/>
                <a:gd name="T41" fmla="*/ 39 h 39"/>
                <a:gd name="T42" fmla="*/ 56 w 137"/>
                <a:gd name="T43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7" h="39">
                  <a:moveTo>
                    <a:pt x="56" y="39"/>
                  </a:moveTo>
                  <a:cubicBezTo>
                    <a:pt x="54" y="39"/>
                    <a:pt x="53" y="38"/>
                    <a:pt x="52" y="36"/>
                  </a:cubicBezTo>
                  <a:cubicBezTo>
                    <a:pt x="52" y="34"/>
                    <a:pt x="53" y="32"/>
                    <a:pt x="55" y="31"/>
                  </a:cubicBezTo>
                  <a:cubicBezTo>
                    <a:pt x="78" y="24"/>
                    <a:pt x="78" y="24"/>
                    <a:pt x="78" y="24"/>
                  </a:cubicBezTo>
                  <a:cubicBezTo>
                    <a:pt x="78" y="24"/>
                    <a:pt x="79" y="24"/>
                    <a:pt x="80" y="24"/>
                  </a:cubicBezTo>
                  <a:cubicBezTo>
                    <a:pt x="123" y="30"/>
                    <a:pt x="123" y="30"/>
                    <a:pt x="123" y="30"/>
                  </a:cubicBezTo>
                  <a:cubicBezTo>
                    <a:pt x="125" y="30"/>
                    <a:pt x="127" y="29"/>
                    <a:pt x="127" y="26"/>
                  </a:cubicBezTo>
                  <a:cubicBezTo>
                    <a:pt x="128" y="25"/>
                    <a:pt x="128" y="25"/>
                    <a:pt x="128" y="25"/>
                  </a:cubicBezTo>
                  <a:cubicBezTo>
                    <a:pt x="128" y="22"/>
                    <a:pt x="127" y="20"/>
                    <a:pt x="125" y="20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3" y="22"/>
                    <a:pt x="0" y="21"/>
                    <a:pt x="0" y="18"/>
                  </a:cubicBezTo>
                  <a:cubicBezTo>
                    <a:pt x="0" y="16"/>
                    <a:pt x="1" y="14"/>
                    <a:pt x="3" y="13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7" y="0"/>
                    <a:pt x="77" y="0"/>
                    <a:pt x="78" y="0"/>
                  </a:cubicBezTo>
                  <a:cubicBezTo>
                    <a:pt x="126" y="12"/>
                    <a:pt x="126" y="12"/>
                    <a:pt x="126" y="12"/>
                  </a:cubicBezTo>
                  <a:cubicBezTo>
                    <a:pt x="133" y="13"/>
                    <a:pt x="137" y="20"/>
                    <a:pt x="136" y="27"/>
                  </a:cubicBezTo>
                  <a:cubicBezTo>
                    <a:pt x="135" y="28"/>
                    <a:pt x="135" y="28"/>
                    <a:pt x="135" y="28"/>
                  </a:cubicBezTo>
                  <a:cubicBezTo>
                    <a:pt x="134" y="35"/>
                    <a:pt x="128" y="39"/>
                    <a:pt x="121" y="38"/>
                  </a:cubicBezTo>
                  <a:cubicBezTo>
                    <a:pt x="79" y="32"/>
                    <a:pt x="79" y="32"/>
                    <a:pt x="79" y="32"/>
                  </a:cubicBezTo>
                  <a:cubicBezTo>
                    <a:pt x="57" y="39"/>
                    <a:pt x="57" y="39"/>
                    <a:pt x="57" y="39"/>
                  </a:cubicBezTo>
                  <a:cubicBezTo>
                    <a:pt x="57" y="39"/>
                    <a:pt x="57" y="39"/>
                    <a:pt x="56" y="3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3" name="Freeform 97">
              <a:extLst>
                <a:ext uri="{FF2B5EF4-FFF2-40B4-BE49-F238E27FC236}">
                  <a16:creationId xmlns:a16="http://schemas.microsoft.com/office/drawing/2014/main" id="{18A42CAF-FD86-BE43-A899-AFAB98C06557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98017" y="5776976"/>
              <a:ext cx="460629" cy="105985"/>
            </a:xfrm>
            <a:custGeom>
              <a:avLst/>
              <a:gdLst>
                <a:gd name="T0" fmla="*/ 53 w 183"/>
                <a:gd name="T1" fmla="*/ 43 h 43"/>
                <a:gd name="T2" fmla="*/ 4 w 183"/>
                <a:gd name="T3" fmla="*/ 40 h 43"/>
                <a:gd name="T4" fmla="*/ 0 w 183"/>
                <a:gd name="T5" fmla="*/ 35 h 43"/>
                <a:gd name="T6" fmla="*/ 5 w 183"/>
                <a:gd name="T7" fmla="*/ 32 h 43"/>
                <a:gd name="T8" fmla="*/ 162 w 183"/>
                <a:gd name="T9" fmla="*/ 20 h 43"/>
                <a:gd name="T10" fmla="*/ 171 w 183"/>
                <a:gd name="T11" fmla="*/ 18 h 43"/>
                <a:gd name="T12" fmla="*/ 174 w 183"/>
                <a:gd name="T13" fmla="*/ 14 h 43"/>
                <a:gd name="T14" fmla="*/ 171 w 183"/>
                <a:gd name="T15" fmla="*/ 10 h 43"/>
                <a:gd name="T16" fmla="*/ 169 w 183"/>
                <a:gd name="T17" fmla="*/ 9 h 43"/>
                <a:gd name="T18" fmla="*/ 122 w 183"/>
                <a:gd name="T19" fmla="*/ 8 h 43"/>
                <a:gd name="T20" fmla="*/ 118 w 183"/>
                <a:gd name="T21" fmla="*/ 4 h 43"/>
                <a:gd name="T22" fmla="*/ 122 w 183"/>
                <a:gd name="T23" fmla="*/ 0 h 43"/>
                <a:gd name="T24" fmla="*/ 170 w 183"/>
                <a:gd name="T25" fmla="*/ 1 h 43"/>
                <a:gd name="T26" fmla="*/ 170 w 183"/>
                <a:gd name="T27" fmla="*/ 1 h 43"/>
                <a:gd name="T28" fmla="*/ 175 w 183"/>
                <a:gd name="T29" fmla="*/ 2 h 43"/>
                <a:gd name="T30" fmla="*/ 182 w 183"/>
                <a:gd name="T31" fmla="*/ 15 h 43"/>
                <a:gd name="T32" fmla="*/ 173 w 183"/>
                <a:gd name="T33" fmla="*/ 26 h 43"/>
                <a:gd name="T34" fmla="*/ 164 w 183"/>
                <a:gd name="T35" fmla="*/ 28 h 43"/>
                <a:gd name="T36" fmla="*/ 53 w 183"/>
                <a:gd name="T3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3" h="43">
                  <a:moveTo>
                    <a:pt x="53" y="43"/>
                  </a:moveTo>
                  <a:cubicBezTo>
                    <a:pt x="37" y="43"/>
                    <a:pt x="20" y="42"/>
                    <a:pt x="4" y="40"/>
                  </a:cubicBezTo>
                  <a:cubicBezTo>
                    <a:pt x="1" y="40"/>
                    <a:pt x="0" y="38"/>
                    <a:pt x="0" y="35"/>
                  </a:cubicBezTo>
                  <a:cubicBezTo>
                    <a:pt x="0" y="33"/>
                    <a:pt x="2" y="31"/>
                    <a:pt x="5" y="32"/>
                  </a:cubicBezTo>
                  <a:cubicBezTo>
                    <a:pt x="57" y="38"/>
                    <a:pt x="110" y="34"/>
                    <a:pt x="162" y="20"/>
                  </a:cubicBezTo>
                  <a:cubicBezTo>
                    <a:pt x="171" y="18"/>
                    <a:pt x="171" y="18"/>
                    <a:pt x="171" y="18"/>
                  </a:cubicBezTo>
                  <a:cubicBezTo>
                    <a:pt x="173" y="17"/>
                    <a:pt x="174" y="15"/>
                    <a:pt x="174" y="14"/>
                  </a:cubicBezTo>
                  <a:cubicBezTo>
                    <a:pt x="174" y="13"/>
                    <a:pt x="174" y="11"/>
                    <a:pt x="171" y="10"/>
                  </a:cubicBezTo>
                  <a:cubicBezTo>
                    <a:pt x="171" y="9"/>
                    <a:pt x="170" y="9"/>
                    <a:pt x="169" y="9"/>
                  </a:cubicBezTo>
                  <a:cubicBezTo>
                    <a:pt x="122" y="8"/>
                    <a:pt x="122" y="8"/>
                    <a:pt x="122" y="8"/>
                  </a:cubicBezTo>
                  <a:cubicBezTo>
                    <a:pt x="120" y="8"/>
                    <a:pt x="118" y="6"/>
                    <a:pt x="118" y="4"/>
                  </a:cubicBezTo>
                  <a:cubicBezTo>
                    <a:pt x="118" y="1"/>
                    <a:pt x="120" y="0"/>
                    <a:pt x="122" y="0"/>
                  </a:cubicBezTo>
                  <a:cubicBezTo>
                    <a:pt x="170" y="1"/>
                    <a:pt x="170" y="1"/>
                    <a:pt x="170" y="1"/>
                  </a:cubicBezTo>
                  <a:cubicBezTo>
                    <a:pt x="170" y="1"/>
                    <a:pt x="170" y="1"/>
                    <a:pt x="170" y="1"/>
                  </a:cubicBezTo>
                  <a:cubicBezTo>
                    <a:pt x="172" y="1"/>
                    <a:pt x="174" y="1"/>
                    <a:pt x="175" y="2"/>
                  </a:cubicBezTo>
                  <a:cubicBezTo>
                    <a:pt x="180" y="5"/>
                    <a:pt x="183" y="10"/>
                    <a:pt x="182" y="15"/>
                  </a:cubicBezTo>
                  <a:cubicBezTo>
                    <a:pt x="181" y="20"/>
                    <a:pt x="178" y="24"/>
                    <a:pt x="173" y="26"/>
                  </a:cubicBezTo>
                  <a:cubicBezTo>
                    <a:pt x="164" y="28"/>
                    <a:pt x="164" y="28"/>
                    <a:pt x="164" y="28"/>
                  </a:cubicBezTo>
                  <a:cubicBezTo>
                    <a:pt x="128" y="38"/>
                    <a:pt x="91" y="43"/>
                    <a:pt x="53" y="4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4" name="Freeform 98">
              <a:extLst>
                <a:ext uri="{FF2B5EF4-FFF2-40B4-BE49-F238E27FC236}">
                  <a16:creationId xmlns:a16="http://schemas.microsoft.com/office/drawing/2014/main" id="{615920BC-F8EF-7033-6FB7-F20ACAFFB0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308337" y="5328578"/>
              <a:ext cx="191590" cy="297575"/>
            </a:xfrm>
            <a:custGeom>
              <a:avLst/>
              <a:gdLst>
                <a:gd name="T0" fmla="*/ 37 w 75"/>
                <a:gd name="T1" fmla="*/ 118 h 118"/>
                <a:gd name="T2" fmla="*/ 20 w 75"/>
                <a:gd name="T3" fmla="*/ 101 h 118"/>
                <a:gd name="T4" fmla="*/ 20 w 75"/>
                <a:gd name="T5" fmla="*/ 100 h 118"/>
                <a:gd name="T6" fmla="*/ 7 w 75"/>
                <a:gd name="T7" fmla="*/ 59 h 118"/>
                <a:gd name="T8" fmla="*/ 1 w 75"/>
                <a:gd name="T9" fmla="*/ 34 h 118"/>
                <a:gd name="T10" fmla="*/ 34 w 75"/>
                <a:gd name="T11" fmla="*/ 1 h 118"/>
                <a:gd name="T12" fmla="*/ 63 w 75"/>
                <a:gd name="T13" fmla="*/ 10 h 118"/>
                <a:gd name="T14" fmla="*/ 75 w 75"/>
                <a:gd name="T15" fmla="*/ 38 h 118"/>
                <a:gd name="T16" fmla="*/ 69 w 75"/>
                <a:gd name="T17" fmla="*/ 59 h 118"/>
                <a:gd name="T18" fmla="*/ 54 w 75"/>
                <a:gd name="T19" fmla="*/ 101 h 118"/>
                <a:gd name="T20" fmla="*/ 37 w 75"/>
                <a:gd name="T21" fmla="*/ 118 h 118"/>
                <a:gd name="T22" fmla="*/ 38 w 75"/>
                <a:gd name="T23" fmla="*/ 9 h 118"/>
                <a:gd name="T24" fmla="*/ 35 w 75"/>
                <a:gd name="T25" fmla="*/ 9 h 118"/>
                <a:gd name="T26" fmla="*/ 9 w 75"/>
                <a:gd name="T27" fmla="*/ 35 h 118"/>
                <a:gd name="T28" fmla="*/ 14 w 75"/>
                <a:gd name="T29" fmla="*/ 54 h 118"/>
                <a:gd name="T30" fmla="*/ 29 w 75"/>
                <a:gd name="T31" fmla="*/ 99 h 118"/>
                <a:gd name="T32" fmla="*/ 29 w 75"/>
                <a:gd name="T33" fmla="*/ 101 h 118"/>
                <a:gd name="T34" fmla="*/ 37 w 75"/>
                <a:gd name="T35" fmla="*/ 109 h 118"/>
                <a:gd name="T36" fmla="*/ 46 w 75"/>
                <a:gd name="T37" fmla="*/ 101 h 118"/>
                <a:gd name="T38" fmla="*/ 62 w 75"/>
                <a:gd name="T39" fmla="*/ 55 h 118"/>
                <a:gd name="T40" fmla="*/ 67 w 75"/>
                <a:gd name="T41" fmla="*/ 38 h 118"/>
                <a:gd name="T42" fmla="*/ 57 w 75"/>
                <a:gd name="T43" fmla="*/ 17 h 118"/>
                <a:gd name="T44" fmla="*/ 38 w 75"/>
                <a:gd name="T45" fmla="*/ 9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5" h="118">
                  <a:moveTo>
                    <a:pt x="37" y="118"/>
                  </a:moveTo>
                  <a:cubicBezTo>
                    <a:pt x="28" y="118"/>
                    <a:pt x="21" y="111"/>
                    <a:pt x="20" y="101"/>
                  </a:cubicBezTo>
                  <a:cubicBezTo>
                    <a:pt x="20" y="100"/>
                    <a:pt x="20" y="100"/>
                    <a:pt x="20" y="100"/>
                  </a:cubicBezTo>
                  <a:cubicBezTo>
                    <a:pt x="20" y="85"/>
                    <a:pt x="15" y="71"/>
                    <a:pt x="7" y="59"/>
                  </a:cubicBezTo>
                  <a:cubicBezTo>
                    <a:pt x="2" y="51"/>
                    <a:pt x="0" y="43"/>
                    <a:pt x="1" y="34"/>
                  </a:cubicBezTo>
                  <a:cubicBezTo>
                    <a:pt x="3" y="17"/>
                    <a:pt x="17" y="3"/>
                    <a:pt x="34" y="1"/>
                  </a:cubicBezTo>
                  <a:cubicBezTo>
                    <a:pt x="44" y="0"/>
                    <a:pt x="55" y="3"/>
                    <a:pt x="63" y="10"/>
                  </a:cubicBezTo>
                  <a:cubicBezTo>
                    <a:pt x="71" y="17"/>
                    <a:pt x="75" y="28"/>
                    <a:pt x="75" y="38"/>
                  </a:cubicBezTo>
                  <a:cubicBezTo>
                    <a:pt x="75" y="46"/>
                    <a:pt x="73" y="53"/>
                    <a:pt x="69" y="59"/>
                  </a:cubicBezTo>
                  <a:cubicBezTo>
                    <a:pt x="60" y="72"/>
                    <a:pt x="55" y="86"/>
                    <a:pt x="54" y="101"/>
                  </a:cubicBezTo>
                  <a:cubicBezTo>
                    <a:pt x="54" y="111"/>
                    <a:pt x="47" y="118"/>
                    <a:pt x="37" y="118"/>
                  </a:cubicBezTo>
                  <a:close/>
                  <a:moveTo>
                    <a:pt x="38" y="9"/>
                  </a:moveTo>
                  <a:cubicBezTo>
                    <a:pt x="37" y="9"/>
                    <a:pt x="36" y="9"/>
                    <a:pt x="35" y="9"/>
                  </a:cubicBezTo>
                  <a:cubicBezTo>
                    <a:pt x="21" y="11"/>
                    <a:pt x="11" y="22"/>
                    <a:pt x="9" y="35"/>
                  </a:cubicBezTo>
                  <a:cubicBezTo>
                    <a:pt x="8" y="42"/>
                    <a:pt x="10" y="48"/>
                    <a:pt x="14" y="54"/>
                  </a:cubicBezTo>
                  <a:cubicBezTo>
                    <a:pt x="23" y="68"/>
                    <a:pt x="28" y="83"/>
                    <a:pt x="29" y="99"/>
                  </a:cubicBezTo>
                  <a:cubicBezTo>
                    <a:pt x="29" y="101"/>
                    <a:pt x="29" y="101"/>
                    <a:pt x="29" y="101"/>
                  </a:cubicBezTo>
                  <a:cubicBezTo>
                    <a:pt x="29" y="106"/>
                    <a:pt x="33" y="109"/>
                    <a:pt x="37" y="109"/>
                  </a:cubicBezTo>
                  <a:cubicBezTo>
                    <a:pt x="42" y="109"/>
                    <a:pt x="46" y="106"/>
                    <a:pt x="46" y="101"/>
                  </a:cubicBezTo>
                  <a:cubicBezTo>
                    <a:pt x="47" y="85"/>
                    <a:pt x="52" y="68"/>
                    <a:pt x="62" y="55"/>
                  </a:cubicBezTo>
                  <a:cubicBezTo>
                    <a:pt x="65" y="50"/>
                    <a:pt x="67" y="44"/>
                    <a:pt x="67" y="38"/>
                  </a:cubicBezTo>
                  <a:cubicBezTo>
                    <a:pt x="67" y="30"/>
                    <a:pt x="63" y="22"/>
                    <a:pt x="57" y="17"/>
                  </a:cubicBezTo>
                  <a:cubicBezTo>
                    <a:pt x="52" y="12"/>
                    <a:pt x="45" y="9"/>
                    <a:pt x="38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5" name="Freeform 99">
              <a:extLst>
                <a:ext uri="{FF2B5EF4-FFF2-40B4-BE49-F238E27FC236}">
                  <a16:creationId xmlns:a16="http://schemas.microsoft.com/office/drawing/2014/main" id="{58DB2110-00CE-01A7-FBAA-FBEE23E06036}"/>
                </a:ext>
              </a:extLst>
            </p:cNvPr>
            <p:cNvSpPr>
              <a:spLocks/>
            </p:cNvSpPr>
            <p:nvPr/>
          </p:nvSpPr>
          <p:spPr bwMode="auto">
            <a:xfrm>
              <a:off x="-7259421" y="5532395"/>
              <a:ext cx="93757" cy="28536"/>
            </a:xfrm>
            <a:custGeom>
              <a:avLst/>
              <a:gdLst>
                <a:gd name="T0" fmla="*/ 18 w 37"/>
                <a:gd name="T1" fmla="*/ 12 h 12"/>
                <a:gd name="T2" fmla="*/ 3 w 37"/>
                <a:gd name="T3" fmla="*/ 8 h 12"/>
                <a:gd name="T4" fmla="*/ 1 w 37"/>
                <a:gd name="T5" fmla="*/ 3 h 12"/>
                <a:gd name="T6" fmla="*/ 7 w 37"/>
                <a:gd name="T7" fmla="*/ 1 h 12"/>
                <a:gd name="T8" fmla="*/ 31 w 37"/>
                <a:gd name="T9" fmla="*/ 1 h 12"/>
                <a:gd name="T10" fmla="*/ 36 w 37"/>
                <a:gd name="T11" fmla="*/ 3 h 12"/>
                <a:gd name="T12" fmla="*/ 34 w 37"/>
                <a:gd name="T13" fmla="*/ 8 h 12"/>
                <a:gd name="T14" fmla="*/ 18 w 37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12">
                  <a:moveTo>
                    <a:pt x="18" y="12"/>
                  </a:moveTo>
                  <a:cubicBezTo>
                    <a:pt x="9" y="12"/>
                    <a:pt x="3" y="8"/>
                    <a:pt x="3" y="8"/>
                  </a:cubicBezTo>
                  <a:cubicBezTo>
                    <a:pt x="1" y="7"/>
                    <a:pt x="0" y="5"/>
                    <a:pt x="1" y="3"/>
                  </a:cubicBezTo>
                  <a:cubicBezTo>
                    <a:pt x="2" y="1"/>
                    <a:pt x="5" y="0"/>
                    <a:pt x="7" y="1"/>
                  </a:cubicBezTo>
                  <a:cubicBezTo>
                    <a:pt x="7" y="1"/>
                    <a:pt x="18" y="7"/>
                    <a:pt x="31" y="1"/>
                  </a:cubicBezTo>
                  <a:cubicBezTo>
                    <a:pt x="33" y="0"/>
                    <a:pt x="35" y="1"/>
                    <a:pt x="36" y="3"/>
                  </a:cubicBezTo>
                  <a:cubicBezTo>
                    <a:pt x="37" y="5"/>
                    <a:pt x="36" y="7"/>
                    <a:pt x="34" y="8"/>
                  </a:cubicBezTo>
                  <a:cubicBezTo>
                    <a:pt x="28" y="11"/>
                    <a:pt x="23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6" name="Freeform 100">
              <a:extLst>
                <a:ext uri="{FF2B5EF4-FFF2-40B4-BE49-F238E27FC236}">
                  <a16:creationId xmlns:a16="http://schemas.microsoft.com/office/drawing/2014/main" id="{CC0598FE-D3B6-AD63-8AE7-46AD4FAAEBBD}"/>
                </a:ext>
              </a:extLst>
            </p:cNvPr>
            <p:cNvSpPr>
              <a:spLocks/>
            </p:cNvSpPr>
            <p:nvPr/>
          </p:nvSpPr>
          <p:spPr bwMode="auto">
            <a:xfrm>
              <a:off x="-7222735" y="5251128"/>
              <a:ext cx="20383" cy="48916"/>
            </a:xfrm>
            <a:custGeom>
              <a:avLst/>
              <a:gdLst>
                <a:gd name="T0" fmla="*/ 4 w 8"/>
                <a:gd name="T1" fmla="*/ 20 h 20"/>
                <a:gd name="T2" fmla="*/ 0 w 8"/>
                <a:gd name="T3" fmla="*/ 16 h 20"/>
                <a:gd name="T4" fmla="*/ 0 w 8"/>
                <a:gd name="T5" fmla="*/ 4 h 20"/>
                <a:gd name="T6" fmla="*/ 4 w 8"/>
                <a:gd name="T7" fmla="*/ 0 h 20"/>
                <a:gd name="T8" fmla="*/ 8 w 8"/>
                <a:gd name="T9" fmla="*/ 4 h 20"/>
                <a:gd name="T10" fmla="*/ 8 w 8"/>
                <a:gd name="T11" fmla="*/ 16 h 20"/>
                <a:gd name="T12" fmla="*/ 4 w 8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0">
                  <a:moveTo>
                    <a:pt x="4" y="20"/>
                  </a:moveTo>
                  <a:cubicBezTo>
                    <a:pt x="2" y="20"/>
                    <a:pt x="0" y="18"/>
                    <a:pt x="0" y="1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8"/>
                    <a:pt x="6" y="20"/>
                    <a:pt x="4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7" name="Freeform 101">
              <a:extLst>
                <a:ext uri="{FF2B5EF4-FFF2-40B4-BE49-F238E27FC236}">
                  <a16:creationId xmlns:a16="http://schemas.microsoft.com/office/drawing/2014/main" id="{97E4A711-D0BC-0CBB-C3EC-3EAC4B543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28720" y="5287814"/>
              <a:ext cx="40763" cy="44841"/>
            </a:xfrm>
            <a:custGeom>
              <a:avLst/>
              <a:gdLst>
                <a:gd name="T0" fmla="*/ 12 w 17"/>
                <a:gd name="T1" fmla="*/ 18 h 18"/>
                <a:gd name="T2" fmla="*/ 9 w 17"/>
                <a:gd name="T3" fmla="*/ 16 h 18"/>
                <a:gd name="T4" fmla="*/ 2 w 17"/>
                <a:gd name="T5" fmla="*/ 7 h 18"/>
                <a:gd name="T6" fmla="*/ 2 w 17"/>
                <a:gd name="T7" fmla="*/ 2 h 18"/>
                <a:gd name="T8" fmla="*/ 8 w 17"/>
                <a:gd name="T9" fmla="*/ 2 h 18"/>
                <a:gd name="T10" fmla="*/ 15 w 17"/>
                <a:gd name="T11" fmla="*/ 11 h 18"/>
                <a:gd name="T12" fmla="*/ 15 w 17"/>
                <a:gd name="T13" fmla="*/ 17 h 18"/>
                <a:gd name="T14" fmla="*/ 12 w 17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8">
                  <a:moveTo>
                    <a:pt x="12" y="18"/>
                  </a:moveTo>
                  <a:cubicBezTo>
                    <a:pt x="11" y="18"/>
                    <a:pt x="10" y="17"/>
                    <a:pt x="9" y="16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6"/>
                    <a:pt x="0" y="3"/>
                    <a:pt x="2" y="2"/>
                  </a:cubicBezTo>
                  <a:cubicBezTo>
                    <a:pt x="4" y="0"/>
                    <a:pt x="7" y="0"/>
                    <a:pt x="8" y="2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7" y="13"/>
                    <a:pt x="17" y="15"/>
                    <a:pt x="15" y="17"/>
                  </a:cubicBezTo>
                  <a:cubicBezTo>
                    <a:pt x="14" y="17"/>
                    <a:pt x="13" y="18"/>
                    <a:pt x="12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8" name="Freeform 102">
              <a:extLst>
                <a:ext uri="{FF2B5EF4-FFF2-40B4-BE49-F238E27FC236}">
                  <a16:creationId xmlns:a16="http://schemas.microsoft.com/office/drawing/2014/main" id="{A370C4CA-8CCD-F668-1A4D-368B7ACEC49E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85789" y="5385647"/>
              <a:ext cx="52994" cy="28536"/>
            </a:xfrm>
            <a:custGeom>
              <a:avLst/>
              <a:gdLst>
                <a:gd name="T0" fmla="*/ 16 w 20"/>
                <a:gd name="T1" fmla="*/ 11 h 11"/>
                <a:gd name="T2" fmla="*/ 15 w 20"/>
                <a:gd name="T3" fmla="*/ 11 h 11"/>
                <a:gd name="T4" fmla="*/ 4 w 20"/>
                <a:gd name="T5" fmla="*/ 9 h 11"/>
                <a:gd name="T6" fmla="*/ 0 w 20"/>
                <a:gd name="T7" fmla="*/ 4 h 11"/>
                <a:gd name="T8" fmla="*/ 5 w 20"/>
                <a:gd name="T9" fmla="*/ 1 h 11"/>
                <a:gd name="T10" fmla="*/ 16 w 20"/>
                <a:gd name="T11" fmla="*/ 3 h 11"/>
                <a:gd name="T12" fmla="*/ 20 w 20"/>
                <a:gd name="T13" fmla="*/ 7 h 11"/>
                <a:gd name="T14" fmla="*/ 16 w 20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11">
                  <a:moveTo>
                    <a:pt x="16" y="11"/>
                  </a:moveTo>
                  <a:cubicBezTo>
                    <a:pt x="15" y="11"/>
                    <a:pt x="15" y="11"/>
                    <a:pt x="15" y="11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1" y="8"/>
                    <a:pt x="0" y="6"/>
                    <a:pt x="0" y="4"/>
                  </a:cubicBezTo>
                  <a:cubicBezTo>
                    <a:pt x="1" y="2"/>
                    <a:pt x="3" y="0"/>
                    <a:pt x="5" y="1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9" y="3"/>
                    <a:pt x="20" y="5"/>
                    <a:pt x="20" y="7"/>
                  </a:cubicBezTo>
                  <a:cubicBezTo>
                    <a:pt x="19" y="9"/>
                    <a:pt x="18" y="11"/>
                    <a:pt x="16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9" name="Freeform 103">
              <a:extLst>
                <a:ext uri="{FF2B5EF4-FFF2-40B4-BE49-F238E27FC236}">
                  <a16:creationId xmlns:a16="http://schemas.microsoft.com/office/drawing/2014/main" id="{B031643C-D6AB-DD2B-8169-00BE107A73A5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65406" y="5479404"/>
              <a:ext cx="48916" cy="40763"/>
            </a:xfrm>
            <a:custGeom>
              <a:avLst/>
              <a:gdLst>
                <a:gd name="T0" fmla="*/ 5 w 20"/>
                <a:gd name="T1" fmla="*/ 15 h 15"/>
                <a:gd name="T2" fmla="*/ 2 w 20"/>
                <a:gd name="T3" fmla="*/ 13 h 15"/>
                <a:gd name="T4" fmla="*/ 3 w 20"/>
                <a:gd name="T5" fmla="*/ 7 h 15"/>
                <a:gd name="T6" fmla="*/ 13 w 20"/>
                <a:gd name="T7" fmla="*/ 1 h 15"/>
                <a:gd name="T8" fmla="*/ 19 w 20"/>
                <a:gd name="T9" fmla="*/ 3 h 15"/>
                <a:gd name="T10" fmla="*/ 17 w 20"/>
                <a:gd name="T11" fmla="*/ 9 h 15"/>
                <a:gd name="T12" fmla="*/ 7 w 20"/>
                <a:gd name="T13" fmla="*/ 14 h 15"/>
                <a:gd name="T14" fmla="*/ 5 w 20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15">
                  <a:moveTo>
                    <a:pt x="5" y="15"/>
                  </a:moveTo>
                  <a:cubicBezTo>
                    <a:pt x="4" y="15"/>
                    <a:pt x="2" y="14"/>
                    <a:pt x="2" y="13"/>
                  </a:cubicBezTo>
                  <a:cubicBezTo>
                    <a:pt x="0" y="11"/>
                    <a:pt x="1" y="8"/>
                    <a:pt x="3" y="7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5" y="0"/>
                    <a:pt x="18" y="1"/>
                    <a:pt x="19" y="3"/>
                  </a:cubicBezTo>
                  <a:cubicBezTo>
                    <a:pt x="20" y="5"/>
                    <a:pt x="19" y="7"/>
                    <a:pt x="17" y="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5"/>
                    <a:pt x="6" y="15"/>
                    <a:pt x="5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0" name="Freeform 104">
              <a:extLst>
                <a:ext uri="{FF2B5EF4-FFF2-40B4-BE49-F238E27FC236}">
                  <a16:creationId xmlns:a16="http://schemas.microsoft.com/office/drawing/2014/main" id="{7AD4DD73-3D5A-8A1B-6A22-2E20EE7664FE}"/>
                </a:ext>
              </a:extLst>
            </p:cNvPr>
            <p:cNvSpPr>
              <a:spLocks/>
            </p:cNvSpPr>
            <p:nvPr/>
          </p:nvSpPr>
          <p:spPr bwMode="auto">
            <a:xfrm>
              <a:off x="-7104520" y="5479404"/>
              <a:ext cx="48916" cy="40763"/>
            </a:xfrm>
            <a:custGeom>
              <a:avLst/>
              <a:gdLst>
                <a:gd name="T0" fmla="*/ 15 w 19"/>
                <a:gd name="T1" fmla="*/ 15 h 15"/>
                <a:gd name="T2" fmla="*/ 13 w 19"/>
                <a:gd name="T3" fmla="*/ 14 h 15"/>
                <a:gd name="T4" fmla="*/ 3 w 19"/>
                <a:gd name="T5" fmla="*/ 9 h 15"/>
                <a:gd name="T6" fmla="*/ 1 w 19"/>
                <a:gd name="T7" fmla="*/ 3 h 15"/>
                <a:gd name="T8" fmla="*/ 7 w 19"/>
                <a:gd name="T9" fmla="*/ 1 h 15"/>
                <a:gd name="T10" fmla="*/ 17 w 19"/>
                <a:gd name="T11" fmla="*/ 7 h 15"/>
                <a:gd name="T12" fmla="*/ 18 w 19"/>
                <a:gd name="T13" fmla="*/ 13 h 15"/>
                <a:gd name="T14" fmla="*/ 15 w 19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15">
                  <a:moveTo>
                    <a:pt x="15" y="15"/>
                  </a:moveTo>
                  <a:cubicBezTo>
                    <a:pt x="14" y="15"/>
                    <a:pt x="13" y="15"/>
                    <a:pt x="13" y="14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1" y="7"/>
                    <a:pt x="0" y="5"/>
                    <a:pt x="1" y="3"/>
                  </a:cubicBezTo>
                  <a:cubicBezTo>
                    <a:pt x="2" y="1"/>
                    <a:pt x="5" y="0"/>
                    <a:pt x="7" y="1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9" y="8"/>
                    <a:pt x="19" y="11"/>
                    <a:pt x="18" y="13"/>
                  </a:cubicBezTo>
                  <a:cubicBezTo>
                    <a:pt x="18" y="14"/>
                    <a:pt x="16" y="15"/>
                    <a:pt x="15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1" name="Freeform 105">
              <a:extLst>
                <a:ext uri="{FF2B5EF4-FFF2-40B4-BE49-F238E27FC236}">
                  <a16:creationId xmlns:a16="http://schemas.microsoft.com/office/drawing/2014/main" id="{2D0B0E2F-46B6-6B2E-A526-EAB96C9BFDB6}"/>
                </a:ext>
              </a:extLst>
            </p:cNvPr>
            <p:cNvSpPr>
              <a:spLocks/>
            </p:cNvSpPr>
            <p:nvPr/>
          </p:nvSpPr>
          <p:spPr bwMode="auto">
            <a:xfrm>
              <a:off x="-7088214" y="5385647"/>
              <a:ext cx="48916" cy="28536"/>
            </a:xfrm>
            <a:custGeom>
              <a:avLst/>
              <a:gdLst>
                <a:gd name="T0" fmla="*/ 4 w 20"/>
                <a:gd name="T1" fmla="*/ 11 h 11"/>
                <a:gd name="T2" fmla="*/ 0 w 20"/>
                <a:gd name="T3" fmla="*/ 7 h 11"/>
                <a:gd name="T4" fmla="*/ 4 w 20"/>
                <a:gd name="T5" fmla="*/ 3 h 11"/>
                <a:gd name="T6" fmla="*/ 15 w 20"/>
                <a:gd name="T7" fmla="*/ 1 h 11"/>
                <a:gd name="T8" fmla="*/ 20 w 20"/>
                <a:gd name="T9" fmla="*/ 4 h 11"/>
                <a:gd name="T10" fmla="*/ 16 w 20"/>
                <a:gd name="T11" fmla="*/ 9 h 11"/>
                <a:gd name="T12" fmla="*/ 5 w 20"/>
                <a:gd name="T13" fmla="*/ 11 h 11"/>
                <a:gd name="T14" fmla="*/ 4 w 20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11">
                  <a:moveTo>
                    <a:pt x="4" y="11"/>
                  </a:moveTo>
                  <a:cubicBezTo>
                    <a:pt x="2" y="11"/>
                    <a:pt x="1" y="9"/>
                    <a:pt x="0" y="7"/>
                  </a:cubicBezTo>
                  <a:cubicBezTo>
                    <a:pt x="0" y="5"/>
                    <a:pt x="1" y="3"/>
                    <a:pt x="4" y="3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7" y="0"/>
                    <a:pt x="19" y="2"/>
                    <a:pt x="20" y="4"/>
                  </a:cubicBezTo>
                  <a:cubicBezTo>
                    <a:pt x="20" y="6"/>
                    <a:pt x="19" y="8"/>
                    <a:pt x="16" y="9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5" y="11"/>
                    <a:pt x="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2" name="Freeform 106">
              <a:extLst>
                <a:ext uri="{FF2B5EF4-FFF2-40B4-BE49-F238E27FC236}">
                  <a16:creationId xmlns:a16="http://schemas.microsoft.com/office/drawing/2014/main" id="{E94F588B-1EFD-6A3A-E1C5-EADC5B277C55}"/>
                </a:ext>
              </a:extLst>
            </p:cNvPr>
            <p:cNvSpPr>
              <a:spLocks/>
            </p:cNvSpPr>
            <p:nvPr/>
          </p:nvSpPr>
          <p:spPr bwMode="auto">
            <a:xfrm>
              <a:off x="-7137130" y="5287814"/>
              <a:ext cx="44841" cy="44841"/>
            </a:xfrm>
            <a:custGeom>
              <a:avLst/>
              <a:gdLst>
                <a:gd name="T0" fmla="*/ 5 w 17"/>
                <a:gd name="T1" fmla="*/ 18 h 18"/>
                <a:gd name="T2" fmla="*/ 2 w 17"/>
                <a:gd name="T3" fmla="*/ 17 h 18"/>
                <a:gd name="T4" fmla="*/ 2 w 17"/>
                <a:gd name="T5" fmla="*/ 11 h 18"/>
                <a:gd name="T6" fmla="*/ 9 w 17"/>
                <a:gd name="T7" fmla="*/ 2 h 18"/>
                <a:gd name="T8" fmla="*/ 15 w 17"/>
                <a:gd name="T9" fmla="*/ 2 h 18"/>
                <a:gd name="T10" fmla="*/ 15 w 17"/>
                <a:gd name="T11" fmla="*/ 7 h 18"/>
                <a:gd name="T12" fmla="*/ 8 w 17"/>
                <a:gd name="T13" fmla="*/ 16 h 18"/>
                <a:gd name="T14" fmla="*/ 5 w 17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8">
                  <a:moveTo>
                    <a:pt x="5" y="18"/>
                  </a:moveTo>
                  <a:cubicBezTo>
                    <a:pt x="4" y="18"/>
                    <a:pt x="3" y="17"/>
                    <a:pt x="2" y="17"/>
                  </a:cubicBezTo>
                  <a:cubicBezTo>
                    <a:pt x="0" y="15"/>
                    <a:pt x="0" y="13"/>
                    <a:pt x="2" y="11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0" y="0"/>
                    <a:pt x="13" y="0"/>
                    <a:pt x="15" y="2"/>
                  </a:cubicBezTo>
                  <a:cubicBezTo>
                    <a:pt x="17" y="3"/>
                    <a:pt x="17" y="6"/>
                    <a:pt x="15" y="7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7"/>
                    <a:pt x="6" y="18"/>
                    <a:pt x="5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1" name="Shape12_20200717_154352">
            <a:extLst>
              <a:ext uri="{FF2B5EF4-FFF2-40B4-BE49-F238E27FC236}">
                <a16:creationId xmlns:a16="http://schemas.microsoft.com/office/drawing/2014/main" id="{786E210B-CDBC-1AE2-DF75-B0D64A9BCA7B}"/>
              </a:ext>
            </a:extLst>
          </p:cNvPr>
          <p:cNvGrpSpPr>
            <a:grpSpLocks noChangeAspect="1"/>
          </p:cNvGrpSpPr>
          <p:nvPr/>
        </p:nvGrpSpPr>
        <p:grpSpPr>
          <a:xfrm>
            <a:off x="11074461" y="2472248"/>
            <a:ext cx="521773" cy="741897"/>
            <a:chOff x="-2119146" y="3779566"/>
            <a:chExt cx="521773" cy="741897"/>
          </a:xfrm>
          <a:solidFill>
            <a:schemeClr val="accent1"/>
          </a:solidFill>
        </p:grpSpPr>
        <p:sp>
          <p:nvSpPr>
            <p:cNvPr id="197" name="Freeform 107">
              <a:extLst>
                <a:ext uri="{FF2B5EF4-FFF2-40B4-BE49-F238E27FC236}">
                  <a16:creationId xmlns:a16="http://schemas.microsoft.com/office/drawing/2014/main" id="{4F2D26DD-8C92-2637-4263-B2D063569C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119146" y="3779566"/>
              <a:ext cx="521773" cy="521772"/>
            </a:xfrm>
            <a:custGeom>
              <a:avLst/>
              <a:gdLst>
                <a:gd name="T0" fmla="*/ 80 w 207"/>
                <a:gd name="T1" fmla="*/ 192 h 207"/>
                <a:gd name="T2" fmla="*/ 39 w 207"/>
                <a:gd name="T3" fmla="*/ 168 h 207"/>
                <a:gd name="T4" fmla="*/ 14 w 207"/>
                <a:gd name="T5" fmla="*/ 155 h 207"/>
                <a:gd name="T6" fmla="*/ 0 w 207"/>
                <a:gd name="T7" fmla="*/ 104 h 207"/>
                <a:gd name="T8" fmla="*/ 14 w 207"/>
                <a:gd name="T9" fmla="*/ 52 h 207"/>
                <a:gd name="T10" fmla="*/ 39 w 207"/>
                <a:gd name="T11" fmla="*/ 39 h 207"/>
                <a:gd name="T12" fmla="*/ 79 w 207"/>
                <a:gd name="T13" fmla="*/ 16 h 207"/>
                <a:gd name="T14" fmla="*/ 127 w 207"/>
                <a:gd name="T15" fmla="*/ 16 h 207"/>
                <a:gd name="T16" fmla="*/ 168 w 207"/>
                <a:gd name="T17" fmla="*/ 39 h 207"/>
                <a:gd name="T18" fmla="*/ 193 w 207"/>
                <a:gd name="T19" fmla="*/ 52 h 207"/>
                <a:gd name="T20" fmla="*/ 207 w 207"/>
                <a:gd name="T21" fmla="*/ 104 h 207"/>
                <a:gd name="T22" fmla="*/ 193 w 207"/>
                <a:gd name="T23" fmla="*/ 155 h 207"/>
                <a:gd name="T24" fmla="*/ 168 w 207"/>
                <a:gd name="T25" fmla="*/ 168 h 207"/>
                <a:gd name="T26" fmla="*/ 127 w 207"/>
                <a:gd name="T27" fmla="*/ 192 h 207"/>
                <a:gd name="T28" fmla="*/ 80 w 207"/>
                <a:gd name="T29" fmla="*/ 183 h 207"/>
                <a:gd name="T30" fmla="*/ 87 w 207"/>
                <a:gd name="T31" fmla="*/ 188 h 207"/>
                <a:gd name="T32" fmla="*/ 119 w 207"/>
                <a:gd name="T33" fmla="*/ 188 h 207"/>
                <a:gd name="T34" fmla="*/ 132 w 207"/>
                <a:gd name="T35" fmla="*/ 185 h 207"/>
                <a:gd name="T36" fmla="*/ 159 w 207"/>
                <a:gd name="T37" fmla="*/ 169 h 207"/>
                <a:gd name="T38" fmla="*/ 169 w 207"/>
                <a:gd name="T39" fmla="*/ 160 h 207"/>
                <a:gd name="T40" fmla="*/ 185 w 207"/>
                <a:gd name="T41" fmla="*/ 132 h 207"/>
                <a:gd name="T42" fmla="*/ 188 w 207"/>
                <a:gd name="T43" fmla="*/ 120 h 207"/>
                <a:gd name="T44" fmla="*/ 188 w 207"/>
                <a:gd name="T45" fmla="*/ 88 h 207"/>
                <a:gd name="T46" fmla="*/ 185 w 207"/>
                <a:gd name="T47" fmla="*/ 75 h 207"/>
                <a:gd name="T48" fmla="*/ 169 w 207"/>
                <a:gd name="T49" fmla="*/ 47 h 207"/>
                <a:gd name="T50" fmla="*/ 159 w 207"/>
                <a:gd name="T51" fmla="*/ 38 h 207"/>
                <a:gd name="T52" fmla="*/ 132 w 207"/>
                <a:gd name="T53" fmla="*/ 22 h 207"/>
                <a:gd name="T54" fmla="*/ 119 w 207"/>
                <a:gd name="T55" fmla="*/ 19 h 207"/>
                <a:gd name="T56" fmla="*/ 87 w 207"/>
                <a:gd name="T57" fmla="*/ 19 h 207"/>
                <a:gd name="T58" fmla="*/ 75 w 207"/>
                <a:gd name="T59" fmla="*/ 22 h 207"/>
                <a:gd name="T60" fmla="*/ 47 w 207"/>
                <a:gd name="T61" fmla="*/ 38 h 207"/>
                <a:gd name="T62" fmla="*/ 38 w 207"/>
                <a:gd name="T63" fmla="*/ 47 h 207"/>
                <a:gd name="T64" fmla="*/ 22 w 207"/>
                <a:gd name="T65" fmla="*/ 75 h 207"/>
                <a:gd name="T66" fmla="*/ 18 w 207"/>
                <a:gd name="T67" fmla="*/ 88 h 207"/>
                <a:gd name="T68" fmla="*/ 18 w 207"/>
                <a:gd name="T69" fmla="*/ 120 h 207"/>
                <a:gd name="T70" fmla="*/ 22 w 207"/>
                <a:gd name="T71" fmla="*/ 132 h 207"/>
                <a:gd name="T72" fmla="*/ 38 w 207"/>
                <a:gd name="T73" fmla="*/ 160 h 207"/>
                <a:gd name="T74" fmla="*/ 47 w 207"/>
                <a:gd name="T75" fmla="*/ 169 h 207"/>
                <a:gd name="T76" fmla="*/ 75 w 207"/>
                <a:gd name="T77" fmla="*/ 185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07" h="207">
                  <a:moveTo>
                    <a:pt x="103" y="207"/>
                  </a:moveTo>
                  <a:cubicBezTo>
                    <a:pt x="93" y="207"/>
                    <a:pt x="84" y="201"/>
                    <a:pt x="80" y="192"/>
                  </a:cubicBezTo>
                  <a:cubicBezTo>
                    <a:pt x="71" y="198"/>
                    <a:pt x="60" y="198"/>
                    <a:pt x="51" y="193"/>
                  </a:cubicBezTo>
                  <a:cubicBezTo>
                    <a:pt x="43" y="188"/>
                    <a:pt x="38" y="178"/>
                    <a:pt x="39" y="168"/>
                  </a:cubicBezTo>
                  <a:cubicBezTo>
                    <a:pt x="38" y="168"/>
                    <a:pt x="38" y="168"/>
                    <a:pt x="38" y="168"/>
                  </a:cubicBezTo>
                  <a:cubicBezTo>
                    <a:pt x="28" y="169"/>
                    <a:pt x="19" y="164"/>
                    <a:pt x="14" y="155"/>
                  </a:cubicBezTo>
                  <a:cubicBezTo>
                    <a:pt x="8" y="147"/>
                    <a:pt x="9" y="136"/>
                    <a:pt x="15" y="127"/>
                  </a:cubicBezTo>
                  <a:cubicBezTo>
                    <a:pt x="6" y="123"/>
                    <a:pt x="0" y="114"/>
                    <a:pt x="0" y="104"/>
                  </a:cubicBezTo>
                  <a:cubicBezTo>
                    <a:pt x="0" y="93"/>
                    <a:pt x="6" y="84"/>
                    <a:pt x="15" y="80"/>
                  </a:cubicBezTo>
                  <a:cubicBezTo>
                    <a:pt x="9" y="72"/>
                    <a:pt x="8" y="61"/>
                    <a:pt x="14" y="52"/>
                  </a:cubicBezTo>
                  <a:cubicBezTo>
                    <a:pt x="19" y="43"/>
                    <a:pt x="28" y="38"/>
                    <a:pt x="38" y="39"/>
                  </a:cubicBezTo>
                  <a:cubicBezTo>
                    <a:pt x="39" y="39"/>
                    <a:pt x="39" y="39"/>
                    <a:pt x="39" y="39"/>
                  </a:cubicBezTo>
                  <a:cubicBezTo>
                    <a:pt x="38" y="29"/>
                    <a:pt x="43" y="19"/>
                    <a:pt x="51" y="14"/>
                  </a:cubicBezTo>
                  <a:cubicBezTo>
                    <a:pt x="60" y="9"/>
                    <a:pt x="71" y="10"/>
                    <a:pt x="79" y="16"/>
                  </a:cubicBezTo>
                  <a:cubicBezTo>
                    <a:pt x="84" y="6"/>
                    <a:pt x="93" y="0"/>
                    <a:pt x="103" y="0"/>
                  </a:cubicBezTo>
                  <a:cubicBezTo>
                    <a:pt x="113" y="0"/>
                    <a:pt x="123" y="6"/>
                    <a:pt x="127" y="16"/>
                  </a:cubicBezTo>
                  <a:cubicBezTo>
                    <a:pt x="135" y="10"/>
                    <a:pt x="146" y="9"/>
                    <a:pt x="155" y="14"/>
                  </a:cubicBezTo>
                  <a:cubicBezTo>
                    <a:pt x="164" y="19"/>
                    <a:pt x="169" y="29"/>
                    <a:pt x="168" y="39"/>
                  </a:cubicBezTo>
                  <a:cubicBezTo>
                    <a:pt x="168" y="39"/>
                    <a:pt x="168" y="39"/>
                    <a:pt x="168" y="39"/>
                  </a:cubicBezTo>
                  <a:cubicBezTo>
                    <a:pt x="178" y="38"/>
                    <a:pt x="188" y="43"/>
                    <a:pt x="193" y="52"/>
                  </a:cubicBezTo>
                  <a:cubicBezTo>
                    <a:pt x="198" y="61"/>
                    <a:pt x="197" y="72"/>
                    <a:pt x="191" y="80"/>
                  </a:cubicBezTo>
                  <a:cubicBezTo>
                    <a:pt x="201" y="84"/>
                    <a:pt x="207" y="93"/>
                    <a:pt x="207" y="104"/>
                  </a:cubicBezTo>
                  <a:cubicBezTo>
                    <a:pt x="207" y="114"/>
                    <a:pt x="201" y="123"/>
                    <a:pt x="191" y="127"/>
                  </a:cubicBezTo>
                  <a:cubicBezTo>
                    <a:pt x="197" y="136"/>
                    <a:pt x="198" y="147"/>
                    <a:pt x="193" y="155"/>
                  </a:cubicBezTo>
                  <a:cubicBezTo>
                    <a:pt x="188" y="164"/>
                    <a:pt x="178" y="169"/>
                    <a:pt x="168" y="168"/>
                  </a:cubicBezTo>
                  <a:cubicBezTo>
                    <a:pt x="168" y="168"/>
                    <a:pt x="168" y="168"/>
                    <a:pt x="168" y="168"/>
                  </a:cubicBezTo>
                  <a:cubicBezTo>
                    <a:pt x="169" y="178"/>
                    <a:pt x="164" y="188"/>
                    <a:pt x="155" y="193"/>
                  </a:cubicBezTo>
                  <a:cubicBezTo>
                    <a:pt x="146" y="198"/>
                    <a:pt x="135" y="198"/>
                    <a:pt x="127" y="192"/>
                  </a:cubicBezTo>
                  <a:cubicBezTo>
                    <a:pt x="123" y="201"/>
                    <a:pt x="113" y="207"/>
                    <a:pt x="103" y="207"/>
                  </a:cubicBezTo>
                  <a:close/>
                  <a:moveTo>
                    <a:pt x="80" y="183"/>
                  </a:moveTo>
                  <a:cubicBezTo>
                    <a:pt x="80" y="183"/>
                    <a:pt x="81" y="184"/>
                    <a:pt x="82" y="184"/>
                  </a:cubicBezTo>
                  <a:cubicBezTo>
                    <a:pt x="84" y="184"/>
                    <a:pt x="86" y="186"/>
                    <a:pt x="87" y="188"/>
                  </a:cubicBezTo>
                  <a:cubicBezTo>
                    <a:pt x="90" y="195"/>
                    <a:pt x="96" y="199"/>
                    <a:pt x="103" y="199"/>
                  </a:cubicBezTo>
                  <a:cubicBezTo>
                    <a:pt x="110" y="199"/>
                    <a:pt x="116" y="195"/>
                    <a:pt x="119" y="188"/>
                  </a:cubicBezTo>
                  <a:cubicBezTo>
                    <a:pt x="120" y="186"/>
                    <a:pt x="122" y="184"/>
                    <a:pt x="125" y="184"/>
                  </a:cubicBezTo>
                  <a:cubicBezTo>
                    <a:pt x="127" y="183"/>
                    <a:pt x="130" y="184"/>
                    <a:pt x="132" y="185"/>
                  </a:cubicBezTo>
                  <a:cubicBezTo>
                    <a:pt x="137" y="189"/>
                    <a:pt x="145" y="190"/>
                    <a:pt x="151" y="186"/>
                  </a:cubicBezTo>
                  <a:cubicBezTo>
                    <a:pt x="157" y="183"/>
                    <a:pt x="160" y="176"/>
                    <a:pt x="159" y="169"/>
                  </a:cubicBezTo>
                  <a:cubicBezTo>
                    <a:pt x="159" y="167"/>
                    <a:pt x="160" y="164"/>
                    <a:pt x="162" y="162"/>
                  </a:cubicBezTo>
                  <a:cubicBezTo>
                    <a:pt x="164" y="160"/>
                    <a:pt x="166" y="160"/>
                    <a:pt x="169" y="160"/>
                  </a:cubicBezTo>
                  <a:cubicBezTo>
                    <a:pt x="176" y="161"/>
                    <a:pt x="182" y="157"/>
                    <a:pt x="186" y="151"/>
                  </a:cubicBezTo>
                  <a:cubicBezTo>
                    <a:pt x="189" y="145"/>
                    <a:pt x="189" y="138"/>
                    <a:pt x="185" y="132"/>
                  </a:cubicBezTo>
                  <a:cubicBezTo>
                    <a:pt x="183" y="130"/>
                    <a:pt x="183" y="128"/>
                    <a:pt x="183" y="125"/>
                  </a:cubicBezTo>
                  <a:cubicBezTo>
                    <a:pt x="184" y="123"/>
                    <a:pt x="186" y="121"/>
                    <a:pt x="188" y="120"/>
                  </a:cubicBezTo>
                  <a:cubicBezTo>
                    <a:pt x="194" y="117"/>
                    <a:pt x="198" y="111"/>
                    <a:pt x="198" y="104"/>
                  </a:cubicBezTo>
                  <a:cubicBezTo>
                    <a:pt x="198" y="97"/>
                    <a:pt x="194" y="91"/>
                    <a:pt x="188" y="88"/>
                  </a:cubicBezTo>
                  <a:cubicBezTo>
                    <a:pt x="186" y="87"/>
                    <a:pt x="184" y="85"/>
                    <a:pt x="183" y="82"/>
                  </a:cubicBezTo>
                  <a:cubicBezTo>
                    <a:pt x="183" y="80"/>
                    <a:pt x="183" y="77"/>
                    <a:pt x="185" y="75"/>
                  </a:cubicBezTo>
                  <a:cubicBezTo>
                    <a:pt x="189" y="69"/>
                    <a:pt x="189" y="62"/>
                    <a:pt x="186" y="56"/>
                  </a:cubicBezTo>
                  <a:cubicBezTo>
                    <a:pt x="182" y="50"/>
                    <a:pt x="176" y="47"/>
                    <a:pt x="169" y="47"/>
                  </a:cubicBezTo>
                  <a:cubicBezTo>
                    <a:pt x="166" y="48"/>
                    <a:pt x="164" y="47"/>
                    <a:pt x="162" y="45"/>
                  </a:cubicBezTo>
                  <a:cubicBezTo>
                    <a:pt x="160" y="43"/>
                    <a:pt x="159" y="41"/>
                    <a:pt x="159" y="38"/>
                  </a:cubicBezTo>
                  <a:cubicBezTo>
                    <a:pt x="160" y="31"/>
                    <a:pt x="157" y="25"/>
                    <a:pt x="151" y="21"/>
                  </a:cubicBezTo>
                  <a:cubicBezTo>
                    <a:pt x="145" y="18"/>
                    <a:pt x="137" y="18"/>
                    <a:pt x="132" y="22"/>
                  </a:cubicBezTo>
                  <a:cubicBezTo>
                    <a:pt x="130" y="24"/>
                    <a:pt x="127" y="24"/>
                    <a:pt x="125" y="24"/>
                  </a:cubicBezTo>
                  <a:cubicBezTo>
                    <a:pt x="122" y="23"/>
                    <a:pt x="120" y="21"/>
                    <a:pt x="119" y="19"/>
                  </a:cubicBezTo>
                  <a:cubicBezTo>
                    <a:pt x="116" y="13"/>
                    <a:pt x="110" y="8"/>
                    <a:pt x="103" y="8"/>
                  </a:cubicBezTo>
                  <a:cubicBezTo>
                    <a:pt x="96" y="8"/>
                    <a:pt x="90" y="13"/>
                    <a:pt x="87" y="19"/>
                  </a:cubicBezTo>
                  <a:cubicBezTo>
                    <a:pt x="86" y="21"/>
                    <a:pt x="84" y="23"/>
                    <a:pt x="82" y="24"/>
                  </a:cubicBezTo>
                  <a:cubicBezTo>
                    <a:pt x="79" y="24"/>
                    <a:pt x="77" y="24"/>
                    <a:pt x="75" y="22"/>
                  </a:cubicBezTo>
                  <a:cubicBezTo>
                    <a:pt x="69" y="18"/>
                    <a:pt x="62" y="18"/>
                    <a:pt x="56" y="21"/>
                  </a:cubicBezTo>
                  <a:cubicBezTo>
                    <a:pt x="50" y="25"/>
                    <a:pt x="46" y="31"/>
                    <a:pt x="47" y="38"/>
                  </a:cubicBezTo>
                  <a:cubicBezTo>
                    <a:pt x="47" y="41"/>
                    <a:pt x="46" y="43"/>
                    <a:pt x="45" y="45"/>
                  </a:cubicBezTo>
                  <a:cubicBezTo>
                    <a:pt x="43" y="47"/>
                    <a:pt x="40" y="48"/>
                    <a:pt x="38" y="47"/>
                  </a:cubicBezTo>
                  <a:cubicBezTo>
                    <a:pt x="31" y="47"/>
                    <a:pt x="24" y="50"/>
                    <a:pt x="21" y="56"/>
                  </a:cubicBezTo>
                  <a:cubicBezTo>
                    <a:pt x="17" y="62"/>
                    <a:pt x="18" y="69"/>
                    <a:pt x="22" y="75"/>
                  </a:cubicBezTo>
                  <a:cubicBezTo>
                    <a:pt x="23" y="77"/>
                    <a:pt x="24" y="80"/>
                    <a:pt x="23" y="82"/>
                  </a:cubicBezTo>
                  <a:cubicBezTo>
                    <a:pt x="22" y="85"/>
                    <a:pt x="21" y="87"/>
                    <a:pt x="18" y="88"/>
                  </a:cubicBezTo>
                  <a:cubicBezTo>
                    <a:pt x="12" y="91"/>
                    <a:pt x="8" y="97"/>
                    <a:pt x="8" y="104"/>
                  </a:cubicBezTo>
                  <a:cubicBezTo>
                    <a:pt x="8" y="111"/>
                    <a:pt x="12" y="117"/>
                    <a:pt x="18" y="120"/>
                  </a:cubicBezTo>
                  <a:cubicBezTo>
                    <a:pt x="21" y="121"/>
                    <a:pt x="22" y="123"/>
                    <a:pt x="23" y="125"/>
                  </a:cubicBezTo>
                  <a:cubicBezTo>
                    <a:pt x="24" y="128"/>
                    <a:pt x="23" y="130"/>
                    <a:pt x="22" y="132"/>
                  </a:cubicBezTo>
                  <a:cubicBezTo>
                    <a:pt x="18" y="138"/>
                    <a:pt x="17" y="145"/>
                    <a:pt x="21" y="151"/>
                  </a:cubicBezTo>
                  <a:cubicBezTo>
                    <a:pt x="24" y="157"/>
                    <a:pt x="31" y="161"/>
                    <a:pt x="38" y="160"/>
                  </a:cubicBezTo>
                  <a:cubicBezTo>
                    <a:pt x="40" y="160"/>
                    <a:pt x="43" y="160"/>
                    <a:pt x="45" y="162"/>
                  </a:cubicBezTo>
                  <a:cubicBezTo>
                    <a:pt x="46" y="164"/>
                    <a:pt x="47" y="167"/>
                    <a:pt x="47" y="169"/>
                  </a:cubicBezTo>
                  <a:cubicBezTo>
                    <a:pt x="46" y="176"/>
                    <a:pt x="50" y="183"/>
                    <a:pt x="56" y="186"/>
                  </a:cubicBezTo>
                  <a:cubicBezTo>
                    <a:pt x="62" y="190"/>
                    <a:pt x="69" y="189"/>
                    <a:pt x="75" y="185"/>
                  </a:cubicBezTo>
                  <a:cubicBezTo>
                    <a:pt x="76" y="184"/>
                    <a:pt x="78" y="183"/>
                    <a:pt x="80" y="1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8" name="Freeform 108">
              <a:extLst>
                <a:ext uri="{FF2B5EF4-FFF2-40B4-BE49-F238E27FC236}">
                  <a16:creationId xmlns:a16="http://schemas.microsoft.com/office/drawing/2014/main" id="{D71ECE67-7CE9-C7CA-572A-7E130D079B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041695" y="3857018"/>
              <a:ext cx="366871" cy="366871"/>
            </a:xfrm>
            <a:custGeom>
              <a:avLst/>
              <a:gdLst>
                <a:gd name="T0" fmla="*/ 72 w 145"/>
                <a:gd name="T1" fmla="*/ 145 h 145"/>
                <a:gd name="T2" fmla="*/ 0 w 145"/>
                <a:gd name="T3" fmla="*/ 73 h 145"/>
                <a:gd name="T4" fmla="*/ 72 w 145"/>
                <a:gd name="T5" fmla="*/ 0 h 145"/>
                <a:gd name="T6" fmla="*/ 145 w 145"/>
                <a:gd name="T7" fmla="*/ 73 h 145"/>
                <a:gd name="T8" fmla="*/ 72 w 145"/>
                <a:gd name="T9" fmla="*/ 145 h 145"/>
                <a:gd name="T10" fmla="*/ 72 w 145"/>
                <a:gd name="T11" fmla="*/ 8 h 145"/>
                <a:gd name="T12" fmla="*/ 8 w 145"/>
                <a:gd name="T13" fmla="*/ 73 h 145"/>
                <a:gd name="T14" fmla="*/ 72 w 145"/>
                <a:gd name="T15" fmla="*/ 137 h 145"/>
                <a:gd name="T16" fmla="*/ 137 w 145"/>
                <a:gd name="T17" fmla="*/ 73 h 145"/>
                <a:gd name="T18" fmla="*/ 72 w 145"/>
                <a:gd name="T19" fmla="*/ 8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5" h="145">
                  <a:moveTo>
                    <a:pt x="72" y="145"/>
                  </a:moveTo>
                  <a:cubicBezTo>
                    <a:pt x="32" y="145"/>
                    <a:pt x="0" y="113"/>
                    <a:pt x="0" y="73"/>
                  </a:cubicBezTo>
                  <a:cubicBezTo>
                    <a:pt x="0" y="33"/>
                    <a:pt x="32" y="0"/>
                    <a:pt x="72" y="0"/>
                  </a:cubicBezTo>
                  <a:cubicBezTo>
                    <a:pt x="112" y="0"/>
                    <a:pt x="145" y="33"/>
                    <a:pt x="145" y="73"/>
                  </a:cubicBezTo>
                  <a:cubicBezTo>
                    <a:pt x="145" y="113"/>
                    <a:pt x="112" y="145"/>
                    <a:pt x="72" y="145"/>
                  </a:cubicBezTo>
                  <a:close/>
                  <a:moveTo>
                    <a:pt x="72" y="8"/>
                  </a:moveTo>
                  <a:cubicBezTo>
                    <a:pt x="37" y="8"/>
                    <a:pt x="8" y="37"/>
                    <a:pt x="8" y="73"/>
                  </a:cubicBezTo>
                  <a:cubicBezTo>
                    <a:pt x="8" y="108"/>
                    <a:pt x="37" y="137"/>
                    <a:pt x="72" y="137"/>
                  </a:cubicBezTo>
                  <a:cubicBezTo>
                    <a:pt x="108" y="137"/>
                    <a:pt x="137" y="108"/>
                    <a:pt x="137" y="73"/>
                  </a:cubicBezTo>
                  <a:cubicBezTo>
                    <a:pt x="137" y="37"/>
                    <a:pt x="108" y="8"/>
                    <a:pt x="7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9" name="Freeform 109">
              <a:extLst>
                <a:ext uri="{FF2B5EF4-FFF2-40B4-BE49-F238E27FC236}">
                  <a16:creationId xmlns:a16="http://schemas.microsoft.com/office/drawing/2014/main" id="{AA8FF6E4-E72C-72E8-85C5-F92332273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74305" y="4240194"/>
              <a:ext cx="203817" cy="281269"/>
            </a:xfrm>
            <a:custGeom>
              <a:avLst/>
              <a:gdLst>
                <a:gd name="T0" fmla="*/ 51 w 81"/>
                <a:gd name="T1" fmla="*/ 112 h 112"/>
                <a:gd name="T2" fmla="*/ 47 w 81"/>
                <a:gd name="T3" fmla="*/ 110 h 112"/>
                <a:gd name="T4" fmla="*/ 33 w 81"/>
                <a:gd name="T5" fmla="*/ 82 h 112"/>
                <a:gd name="T6" fmla="*/ 7 w 81"/>
                <a:gd name="T7" fmla="*/ 98 h 112"/>
                <a:gd name="T8" fmla="*/ 2 w 81"/>
                <a:gd name="T9" fmla="*/ 98 h 112"/>
                <a:gd name="T10" fmla="*/ 1 w 81"/>
                <a:gd name="T11" fmla="*/ 94 h 112"/>
                <a:gd name="T12" fmla="*/ 27 w 81"/>
                <a:gd name="T13" fmla="*/ 4 h 112"/>
                <a:gd name="T14" fmla="*/ 32 w 81"/>
                <a:gd name="T15" fmla="*/ 1 h 112"/>
                <a:gd name="T16" fmla="*/ 35 w 81"/>
                <a:gd name="T17" fmla="*/ 6 h 112"/>
                <a:gd name="T18" fmla="*/ 12 w 81"/>
                <a:gd name="T19" fmla="*/ 86 h 112"/>
                <a:gd name="T20" fmla="*/ 33 w 81"/>
                <a:gd name="T21" fmla="*/ 73 h 112"/>
                <a:gd name="T22" fmla="*/ 36 w 81"/>
                <a:gd name="T23" fmla="*/ 72 h 112"/>
                <a:gd name="T24" fmla="*/ 39 w 81"/>
                <a:gd name="T25" fmla="*/ 74 h 112"/>
                <a:gd name="T26" fmla="*/ 50 w 81"/>
                <a:gd name="T27" fmla="*/ 97 h 112"/>
                <a:gd name="T28" fmla="*/ 72 w 81"/>
                <a:gd name="T29" fmla="*/ 19 h 112"/>
                <a:gd name="T30" fmla="*/ 77 w 81"/>
                <a:gd name="T31" fmla="*/ 16 h 112"/>
                <a:gd name="T32" fmla="*/ 80 w 81"/>
                <a:gd name="T33" fmla="*/ 21 h 112"/>
                <a:gd name="T34" fmla="*/ 55 w 81"/>
                <a:gd name="T35" fmla="*/ 109 h 112"/>
                <a:gd name="T36" fmla="*/ 51 w 81"/>
                <a:gd name="T37" fmla="*/ 112 h 112"/>
                <a:gd name="T38" fmla="*/ 51 w 81"/>
                <a:gd name="T39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1" h="112">
                  <a:moveTo>
                    <a:pt x="51" y="112"/>
                  </a:moveTo>
                  <a:cubicBezTo>
                    <a:pt x="49" y="112"/>
                    <a:pt x="48" y="111"/>
                    <a:pt x="47" y="110"/>
                  </a:cubicBezTo>
                  <a:cubicBezTo>
                    <a:pt x="33" y="82"/>
                    <a:pt x="33" y="82"/>
                    <a:pt x="33" y="82"/>
                  </a:cubicBezTo>
                  <a:cubicBezTo>
                    <a:pt x="7" y="98"/>
                    <a:pt x="7" y="98"/>
                    <a:pt x="7" y="98"/>
                  </a:cubicBezTo>
                  <a:cubicBezTo>
                    <a:pt x="6" y="99"/>
                    <a:pt x="4" y="99"/>
                    <a:pt x="2" y="98"/>
                  </a:cubicBezTo>
                  <a:cubicBezTo>
                    <a:pt x="1" y="97"/>
                    <a:pt x="0" y="95"/>
                    <a:pt x="1" y="9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8" y="2"/>
                    <a:pt x="30" y="0"/>
                    <a:pt x="32" y="1"/>
                  </a:cubicBezTo>
                  <a:cubicBezTo>
                    <a:pt x="34" y="2"/>
                    <a:pt x="36" y="4"/>
                    <a:pt x="35" y="6"/>
                  </a:cubicBezTo>
                  <a:cubicBezTo>
                    <a:pt x="12" y="86"/>
                    <a:pt x="12" y="86"/>
                    <a:pt x="12" y="86"/>
                  </a:cubicBezTo>
                  <a:cubicBezTo>
                    <a:pt x="33" y="73"/>
                    <a:pt x="33" y="73"/>
                    <a:pt x="33" y="73"/>
                  </a:cubicBezTo>
                  <a:cubicBezTo>
                    <a:pt x="34" y="72"/>
                    <a:pt x="35" y="72"/>
                    <a:pt x="36" y="72"/>
                  </a:cubicBezTo>
                  <a:cubicBezTo>
                    <a:pt x="37" y="73"/>
                    <a:pt x="38" y="73"/>
                    <a:pt x="39" y="74"/>
                  </a:cubicBezTo>
                  <a:cubicBezTo>
                    <a:pt x="50" y="97"/>
                    <a:pt x="50" y="97"/>
                    <a:pt x="50" y="97"/>
                  </a:cubicBezTo>
                  <a:cubicBezTo>
                    <a:pt x="72" y="19"/>
                    <a:pt x="72" y="19"/>
                    <a:pt x="72" y="19"/>
                  </a:cubicBezTo>
                  <a:cubicBezTo>
                    <a:pt x="73" y="16"/>
                    <a:pt x="75" y="15"/>
                    <a:pt x="77" y="16"/>
                  </a:cubicBezTo>
                  <a:cubicBezTo>
                    <a:pt x="80" y="16"/>
                    <a:pt x="81" y="19"/>
                    <a:pt x="80" y="21"/>
                  </a:cubicBezTo>
                  <a:cubicBezTo>
                    <a:pt x="55" y="109"/>
                    <a:pt x="55" y="109"/>
                    <a:pt x="55" y="109"/>
                  </a:cubicBezTo>
                  <a:cubicBezTo>
                    <a:pt x="54" y="111"/>
                    <a:pt x="53" y="112"/>
                    <a:pt x="51" y="112"/>
                  </a:cubicBezTo>
                  <a:cubicBezTo>
                    <a:pt x="51" y="112"/>
                    <a:pt x="51" y="112"/>
                    <a:pt x="51" y="1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0" name="Freeform 110">
              <a:extLst>
                <a:ext uri="{FF2B5EF4-FFF2-40B4-BE49-F238E27FC236}">
                  <a16:creationId xmlns:a16="http://schemas.microsoft.com/office/drawing/2014/main" id="{6E9457C8-7F01-3231-6D22-E83AA189784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46030" y="4240194"/>
              <a:ext cx="203817" cy="281269"/>
            </a:xfrm>
            <a:custGeom>
              <a:avLst/>
              <a:gdLst>
                <a:gd name="T0" fmla="*/ 31 w 81"/>
                <a:gd name="T1" fmla="*/ 112 h 112"/>
                <a:gd name="T2" fmla="*/ 30 w 81"/>
                <a:gd name="T3" fmla="*/ 112 h 112"/>
                <a:gd name="T4" fmla="*/ 27 w 81"/>
                <a:gd name="T5" fmla="*/ 109 h 112"/>
                <a:gd name="T6" fmla="*/ 1 w 81"/>
                <a:gd name="T7" fmla="*/ 21 h 112"/>
                <a:gd name="T8" fmla="*/ 4 w 81"/>
                <a:gd name="T9" fmla="*/ 16 h 112"/>
                <a:gd name="T10" fmla="*/ 9 w 81"/>
                <a:gd name="T11" fmla="*/ 19 h 112"/>
                <a:gd name="T12" fmla="*/ 32 w 81"/>
                <a:gd name="T13" fmla="*/ 97 h 112"/>
                <a:gd name="T14" fmla="*/ 43 w 81"/>
                <a:gd name="T15" fmla="*/ 74 h 112"/>
                <a:gd name="T16" fmla="*/ 45 w 81"/>
                <a:gd name="T17" fmla="*/ 72 h 112"/>
                <a:gd name="T18" fmla="*/ 48 w 81"/>
                <a:gd name="T19" fmla="*/ 73 h 112"/>
                <a:gd name="T20" fmla="*/ 69 w 81"/>
                <a:gd name="T21" fmla="*/ 86 h 112"/>
                <a:gd name="T22" fmla="*/ 46 w 81"/>
                <a:gd name="T23" fmla="*/ 6 h 112"/>
                <a:gd name="T24" fmla="*/ 49 w 81"/>
                <a:gd name="T25" fmla="*/ 1 h 112"/>
                <a:gd name="T26" fmla="*/ 54 w 81"/>
                <a:gd name="T27" fmla="*/ 4 h 112"/>
                <a:gd name="T28" fmla="*/ 80 w 81"/>
                <a:gd name="T29" fmla="*/ 94 h 112"/>
                <a:gd name="T30" fmla="*/ 79 w 81"/>
                <a:gd name="T31" fmla="*/ 98 h 112"/>
                <a:gd name="T32" fmla="*/ 74 w 81"/>
                <a:gd name="T33" fmla="*/ 98 h 112"/>
                <a:gd name="T34" fmla="*/ 48 w 81"/>
                <a:gd name="T35" fmla="*/ 82 h 112"/>
                <a:gd name="T36" fmla="*/ 34 w 81"/>
                <a:gd name="T37" fmla="*/ 110 h 112"/>
                <a:gd name="T38" fmla="*/ 31 w 81"/>
                <a:gd name="T39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1" h="112">
                  <a:moveTo>
                    <a:pt x="31" y="112"/>
                  </a:moveTo>
                  <a:cubicBezTo>
                    <a:pt x="31" y="112"/>
                    <a:pt x="31" y="112"/>
                    <a:pt x="30" y="112"/>
                  </a:cubicBezTo>
                  <a:cubicBezTo>
                    <a:pt x="29" y="112"/>
                    <a:pt x="27" y="111"/>
                    <a:pt x="27" y="109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0" y="19"/>
                    <a:pt x="2" y="16"/>
                    <a:pt x="4" y="16"/>
                  </a:cubicBezTo>
                  <a:cubicBezTo>
                    <a:pt x="6" y="15"/>
                    <a:pt x="8" y="16"/>
                    <a:pt x="9" y="19"/>
                  </a:cubicBezTo>
                  <a:cubicBezTo>
                    <a:pt x="32" y="97"/>
                    <a:pt x="32" y="97"/>
                    <a:pt x="32" y="97"/>
                  </a:cubicBezTo>
                  <a:cubicBezTo>
                    <a:pt x="43" y="74"/>
                    <a:pt x="43" y="74"/>
                    <a:pt x="43" y="74"/>
                  </a:cubicBezTo>
                  <a:cubicBezTo>
                    <a:pt x="43" y="73"/>
                    <a:pt x="44" y="73"/>
                    <a:pt x="45" y="72"/>
                  </a:cubicBezTo>
                  <a:cubicBezTo>
                    <a:pt x="46" y="72"/>
                    <a:pt x="47" y="72"/>
                    <a:pt x="48" y="73"/>
                  </a:cubicBezTo>
                  <a:cubicBezTo>
                    <a:pt x="69" y="86"/>
                    <a:pt x="69" y="86"/>
                    <a:pt x="69" y="86"/>
                  </a:cubicBezTo>
                  <a:cubicBezTo>
                    <a:pt x="46" y="6"/>
                    <a:pt x="46" y="6"/>
                    <a:pt x="46" y="6"/>
                  </a:cubicBezTo>
                  <a:cubicBezTo>
                    <a:pt x="46" y="4"/>
                    <a:pt x="47" y="2"/>
                    <a:pt x="49" y="1"/>
                  </a:cubicBezTo>
                  <a:cubicBezTo>
                    <a:pt x="51" y="0"/>
                    <a:pt x="54" y="2"/>
                    <a:pt x="54" y="4"/>
                  </a:cubicBezTo>
                  <a:cubicBezTo>
                    <a:pt x="80" y="94"/>
                    <a:pt x="80" y="94"/>
                    <a:pt x="80" y="94"/>
                  </a:cubicBezTo>
                  <a:cubicBezTo>
                    <a:pt x="81" y="95"/>
                    <a:pt x="80" y="97"/>
                    <a:pt x="79" y="98"/>
                  </a:cubicBezTo>
                  <a:cubicBezTo>
                    <a:pt x="78" y="99"/>
                    <a:pt x="76" y="99"/>
                    <a:pt x="74" y="98"/>
                  </a:cubicBezTo>
                  <a:cubicBezTo>
                    <a:pt x="48" y="82"/>
                    <a:pt x="48" y="82"/>
                    <a:pt x="48" y="82"/>
                  </a:cubicBezTo>
                  <a:cubicBezTo>
                    <a:pt x="34" y="110"/>
                    <a:pt x="34" y="110"/>
                    <a:pt x="34" y="110"/>
                  </a:cubicBezTo>
                  <a:cubicBezTo>
                    <a:pt x="34" y="111"/>
                    <a:pt x="32" y="112"/>
                    <a:pt x="31" y="1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2" name="Shape13_20200717_154352">
            <a:extLst>
              <a:ext uri="{FF2B5EF4-FFF2-40B4-BE49-F238E27FC236}">
                <a16:creationId xmlns:a16="http://schemas.microsoft.com/office/drawing/2014/main" id="{4593EB47-6815-D46A-0C78-8ABF314EFC48}"/>
              </a:ext>
            </a:extLst>
          </p:cNvPr>
          <p:cNvGrpSpPr>
            <a:grpSpLocks noChangeAspect="1"/>
          </p:cNvGrpSpPr>
          <p:nvPr/>
        </p:nvGrpSpPr>
        <p:grpSpPr>
          <a:xfrm>
            <a:off x="6979653" y="2555236"/>
            <a:ext cx="843805" cy="668521"/>
            <a:chOff x="-6293327" y="3816254"/>
            <a:chExt cx="843805" cy="668521"/>
          </a:xfrm>
          <a:solidFill>
            <a:schemeClr val="accent1"/>
          </a:solidFill>
        </p:grpSpPr>
        <p:sp>
          <p:nvSpPr>
            <p:cNvPr id="187" name="Freeform 111">
              <a:extLst>
                <a:ext uri="{FF2B5EF4-FFF2-40B4-BE49-F238E27FC236}">
                  <a16:creationId xmlns:a16="http://schemas.microsoft.com/office/drawing/2014/main" id="{4303AFAF-5166-26CB-4D36-602C3D312E17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56899" y="3918162"/>
              <a:ext cx="97832" cy="73374"/>
            </a:xfrm>
            <a:custGeom>
              <a:avLst/>
              <a:gdLst>
                <a:gd name="T0" fmla="*/ 15 w 39"/>
                <a:gd name="T1" fmla="*/ 29 h 29"/>
                <a:gd name="T2" fmla="*/ 12 w 39"/>
                <a:gd name="T3" fmla="*/ 28 h 29"/>
                <a:gd name="T4" fmla="*/ 2 w 39"/>
                <a:gd name="T5" fmla="*/ 18 h 29"/>
                <a:gd name="T6" fmla="*/ 2 w 39"/>
                <a:gd name="T7" fmla="*/ 12 h 29"/>
                <a:gd name="T8" fmla="*/ 8 w 39"/>
                <a:gd name="T9" fmla="*/ 12 h 29"/>
                <a:gd name="T10" fmla="*/ 15 w 39"/>
                <a:gd name="T11" fmla="*/ 19 h 29"/>
                <a:gd name="T12" fmla="*/ 32 w 39"/>
                <a:gd name="T13" fmla="*/ 2 h 29"/>
                <a:gd name="T14" fmla="*/ 38 w 39"/>
                <a:gd name="T15" fmla="*/ 2 h 29"/>
                <a:gd name="T16" fmla="*/ 38 w 39"/>
                <a:gd name="T17" fmla="*/ 8 h 29"/>
                <a:gd name="T18" fmla="*/ 18 w 39"/>
                <a:gd name="T19" fmla="*/ 28 h 29"/>
                <a:gd name="T20" fmla="*/ 15 w 39"/>
                <a:gd name="T21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9" h="29">
                  <a:moveTo>
                    <a:pt x="15" y="29"/>
                  </a:moveTo>
                  <a:cubicBezTo>
                    <a:pt x="14" y="29"/>
                    <a:pt x="13" y="29"/>
                    <a:pt x="12" y="2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0" y="16"/>
                    <a:pt x="0" y="14"/>
                    <a:pt x="2" y="12"/>
                  </a:cubicBezTo>
                  <a:cubicBezTo>
                    <a:pt x="3" y="10"/>
                    <a:pt x="6" y="10"/>
                    <a:pt x="8" y="12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4" y="0"/>
                    <a:pt x="36" y="0"/>
                    <a:pt x="38" y="2"/>
                  </a:cubicBezTo>
                  <a:cubicBezTo>
                    <a:pt x="39" y="3"/>
                    <a:pt x="39" y="6"/>
                    <a:pt x="38" y="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7" y="29"/>
                    <a:pt x="16" y="29"/>
                    <a:pt x="15" y="2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8" name="Freeform 112">
              <a:extLst>
                <a:ext uri="{FF2B5EF4-FFF2-40B4-BE49-F238E27FC236}">
                  <a16:creationId xmlns:a16="http://schemas.microsoft.com/office/drawing/2014/main" id="{E4A3164C-3A36-D3A9-5296-A5DBEAF87CAE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22378" y="3971155"/>
              <a:ext cx="232353" cy="20383"/>
            </a:xfrm>
            <a:custGeom>
              <a:avLst/>
              <a:gdLst>
                <a:gd name="T0" fmla="*/ 89 w 93"/>
                <a:gd name="T1" fmla="*/ 8 h 8"/>
                <a:gd name="T2" fmla="*/ 5 w 93"/>
                <a:gd name="T3" fmla="*/ 8 h 8"/>
                <a:gd name="T4" fmla="*/ 0 w 93"/>
                <a:gd name="T5" fmla="*/ 4 h 8"/>
                <a:gd name="T6" fmla="*/ 5 w 93"/>
                <a:gd name="T7" fmla="*/ 0 h 8"/>
                <a:gd name="T8" fmla="*/ 89 w 93"/>
                <a:gd name="T9" fmla="*/ 0 h 8"/>
                <a:gd name="T10" fmla="*/ 93 w 93"/>
                <a:gd name="T11" fmla="*/ 4 h 8"/>
                <a:gd name="T12" fmla="*/ 89 w 93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3" h="8">
                  <a:moveTo>
                    <a:pt x="89" y="8"/>
                  </a:moveTo>
                  <a:cubicBezTo>
                    <a:pt x="5" y="8"/>
                    <a:pt x="5" y="8"/>
                    <a:pt x="5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91" y="0"/>
                    <a:pt x="93" y="2"/>
                    <a:pt x="93" y="4"/>
                  </a:cubicBezTo>
                  <a:cubicBezTo>
                    <a:pt x="93" y="6"/>
                    <a:pt x="91" y="8"/>
                    <a:pt x="8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9" name="Freeform 113">
              <a:extLst>
                <a:ext uri="{FF2B5EF4-FFF2-40B4-BE49-F238E27FC236}">
                  <a16:creationId xmlns:a16="http://schemas.microsoft.com/office/drawing/2014/main" id="{4D4BC1C8-D11A-987A-074E-C40A9B060F4D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56899" y="4028224"/>
              <a:ext cx="97832" cy="73374"/>
            </a:xfrm>
            <a:custGeom>
              <a:avLst/>
              <a:gdLst>
                <a:gd name="T0" fmla="*/ 15 w 39"/>
                <a:gd name="T1" fmla="*/ 29 h 29"/>
                <a:gd name="T2" fmla="*/ 12 w 39"/>
                <a:gd name="T3" fmla="*/ 28 h 29"/>
                <a:gd name="T4" fmla="*/ 2 w 39"/>
                <a:gd name="T5" fmla="*/ 17 h 29"/>
                <a:gd name="T6" fmla="*/ 2 w 39"/>
                <a:gd name="T7" fmla="*/ 12 h 29"/>
                <a:gd name="T8" fmla="*/ 8 w 39"/>
                <a:gd name="T9" fmla="*/ 12 h 29"/>
                <a:gd name="T10" fmla="*/ 15 w 39"/>
                <a:gd name="T11" fmla="*/ 19 h 29"/>
                <a:gd name="T12" fmla="*/ 32 w 39"/>
                <a:gd name="T13" fmla="*/ 2 h 29"/>
                <a:gd name="T14" fmla="*/ 38 w 39"/>
                <a:gd name="T15" fmla="*/ 2 h 29"/>
                <a:gd name="T16" fmla="*/ 38 w 39"/>
                <a:gd name="T17" fmla="*/ 7 h 29"/>
                <a:gd name="T18" fmla="*/ 18 w 39"/>
                <a:gd name="T19" fmla="*/ 28 h 29"/>
                <a:gd name="T20" fmla="*/ 15 w 39"/>
                <a:gd name="T21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9" h="29">
                  <a:moveTo>
                    <a:pt x="15" y="29"/>
                  </a:moveTo>
                  <a:cubicBezTo>
                    <a:pt x="14" y="29"/>
                    <a:pt x="13" y="28"/>
                    <a:pt x="12" y="28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0" y="16"/>
                    <a:pt x="0" y="13"/>
                    <a:pt x="2" y="12"/>
                  </a:cubicBezTo>
                  <a:cubicBezTo>
                    <a:pt x="3" y="10"/>
                    <a:pt x="6" y="10"/>
                    <a:pt x="8" y="12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4" y="0"/>
                    <a:pt x="36" y="0"/>
                    <a:pt x="38" y="2"/>
                  </a:cubicBezTo>
                  <a:cubicBezTo>
                    <a:pt x="39" y="3"/>
                    <a:pt x="39" y="6"/>
                    <a:pt x="38" y="7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7" y="28"/>
                    <a:pt x="16" y="29"/>
                    <a:pt x="15" y="2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0" name="Freeform 114">
              <a:extLst>
                <a:ext uri="{FF2B5EF4-FFF2-40B4-BE49-F238E27FC236}">
                  <a16:creationId xmlns:a16="http://schemas.microsoft.com/office/drawing/2014/main" id="{0E14B1D8-8C60-82D6-EF80-81F6AF553871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22378" y="4081216"/>
              <a:ext cx="232353" cy="20383"/>
            </a:xfrm>
            <a:custGeom>
              <a:avLst/>
              <a:gdLst>
                <a:gd name="T0" fmla="*/ 89 w 93"/>
                <a:gd name="T1" fmla="*/ 9 h 9"/>
                <a:gd name="T2" fmla="*/ 5 w 93"/>
                <a:gd name="T3" fmla="*/ 9 h 9"/>
                <a:gd name="T4" fmla="*/ 0 w 93"/>
                <a:gd name="T5" fmla="*/ 5 h 9"/>
                <a:gd name="T6" fmla="*/ 5 w 93"/>
                <a:gd name="T7" fmla="*/ 0 h 9"/>
                <a:gd name="T8" fmla="*/ 89 w 93"/>
                <a:gd name="T9" fmla="*/ 0 h 9"/>
                <a:gd name="T10" fmla="*/ 93 w 93"/>
                <a:gd name="T11" fmla="*/ 5 h 9"/>
                <a:gd name="T12" fmla="*/ 89 w 93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3" h="9">
                  <a:moveTo>
                    <a:pt x="89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91" y="0"/>
                    <a:pt x="93" y="2"/>
                    <a:pt x="93" y="5"/>
                  </a:cubicBezTo>
                  <a:cubicBezTo>
                    <a:pt x="93" y="7"/>
                    <a:pt x="91" y="9"/>
                    <a:pt x="8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1" name="Freeform 115">
              <a:extLst>
                <a:ext uri="{FF2B5EF4-FFF2-40B4-BE49-F238E27FC236}">
                  <a16:creationId xmlns:a16="http://schemas.microsoft.com/office/drawing/2014/main" id="{58614D3E-4597-D73D-A789-3C597FFEBFB5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56899" y="4142362"/>
              <a:ext cx="97832" cy="69299"/>
            </a:xfrm>
            <a:custGeom>
              <a:avLst/>
              <a:gdLst>
                <a:gd name="T0" fmla="*/ 15 w 39"/>
                <a:gd name="T1" fmla="*/ 28 h 28"/>
                <a:gd name="T2" fmla="*/ 12 w 39"/>
                <a:gd name="T3" fmla="*/ 27 h 28"/>
                <a:gd name="T4" fmla="*/ 2 w 39"/>
                <a:gd name="T5" fmla="*/ 17 h 28"/>
                <a:gd name="T6" fmla="*/ 2 w 39"/>
                <a:gd name="T7" fmla="*/ 11 h 28"/>
                <a:gd name="T8" fmla="*/ 8 w 39"/>
                <a:gd name="T9" fmla="*/ 11 h 28"/>
                <a:gd name="T10" fmla="*/ 15 w 39"/>
                <a:gd name="T11" fmla="*/ 18 h 28"/>
                <a:gd name="T12" fmla="*/ 32 w 39"/>
                <a:gd name="T13" fmla="*/ 1 h 28"/>
                <a:gd name="T14" fmla="*/ 38 w 39"/>
                <a:gd name="T15" fmla="*/ 1 h 28"/>
                <a:gd name="T16" fmla="*/ 38 w 39"/>
                <a:gd name="T17" fmla="*/ 7 h 28"/>
                <a:gd name="T18" fmla="*/ 18 w 39"/>
                <a:gd name="T19" fmla="*/ 27 h 28"/>
                <a:gd name="T20" fmla="*/ 15 w 39"/>
                <a:gd name="T2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9" h="28">
                  <a:moveTo>
                    <a:pt x="15" y="28"/>
                  </a:moveTo>
                  <a:cubicBezTo>
                    <a:pt x="14" y="28"/>
                    <a:pt x="13" y="28"/>
                    <a:pt x="12" y="2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0" y="16"/>
                    <a:pt x="0" y="13"/>
                    <a:pt x="2" y="11"/>
                  </a:cubicBezTo>
                  <a:cubicBezTo>
                    <a:pt x="3" y="10"/>
                    <a:pt x="6" y="10"/>
                    <a:pt x="8" y="11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34" y="0"/>
                    <a:pt x="36" y="0"/>
                    <a:pt x="38" y="1"/>
                  </a:cubicBezTo>
                  <a:cubicBezTo>
                    <a:pt x="39" y="3"/>
                    <a:pt x="39" y="5"/>
                    <a:pt x="38" y="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7" y="28"/>
                    <a:pt x="16" y="28"/>
                    <a:pt x="15" y="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2" name="Freeform 116">
              <a:extLst>
                <a:ext uri="{FF2B5EF4-FFF2-40B4-BE49-F238E27FC236}">
                  <a16:creationId xmlns:a16="http://schemas.microsoft.com/office/drawing/2014/main" id="{0C95742D-A614-B6A7-517D-F974C93221C3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22378" y="4191278"/>
              <a:ext cx="232353" cy="20383"/>
            </a:xfrm>
            <a:custGeom>
              <a:avLst/>
              <a:gdLst>
                <a:gd name="T0" fmla="*/ 89 w 93"/>
                <a:gd name="T1" fmla="*/ 8 h 8"/>
                <a:gd name="T2" fmla="*/ 5 w 93"/>
                <a:gd name="T3" fmla="*/ 8 h 8"/>
                <a:gd name="T4" fmla="*/ 0 w 93"/>
                <a:gd name="T5" fmla="*/ 4 h 8"/>
                <a:gd name="T6" fmla="*/ 5 w 93"/>
                <a:gd name="T7" fmla="*/ 0 h 8"/>
                <a:gd name="T8" fmla="*/ 89 w 93"/>
                <a:gd name="T9" fmla="*/ 0 h 8"/>
                <a:gd name="T10" fmla="*/ 93 w 93"/>
                <a:gd name="T11" fmla="*/ 4 h 8"/>
                <a:gd name="T12" fmla="*/ 89 w 93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3" h="8">
                  <a:moveTo>
                    <a:pt x="89" y="8"/>
                  </a:moveTo>
                  <a:cubicBezTo>
                    <a:pt x="5" y="8"/>
                    <a:pt x="5" y="8"/>
                    <a:pt x="5" y="8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91" y="0"/>
                    <a:pt x="93" y="2"/>
                    <a:pt x="93" y="4"/>
                  </a:cubicBezTo>
                  <a:cubicBezTo>
                    <a:pt x="93" y="7"/>
                    <a:pt x="91" y="8"/>
                    <a:pt x="8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3" name="Freeform 117">
              <a:extLst>
                <a:ext uri="{FF2B5EF4-FFF2-40B4-BE49-F238E27FC236}">
                  <a16:creationId xmlns:a16="http://schemas.microsoft.com/office/drawing/2014/main" id="{B5028C76-71BC-111A-FC5F-E31B349434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293327" y="3816254"/>
              <a:ext cx="843805" cy="574766"/>
            </a:xfrm>
            <a:custGeom>
              <a:avLst/>
              <a:gdLst>
                <a:gd name="T0" fmla="*/ 306 w 336"/>
                <a:gd name="T1" fmla="*/ 227 h 227"/>
                <a:gd name="T2" fmla="*/ 30 w 336"/>
                <a:gd name="T3" fmla="*/ 227 h 227"/>
                <a:gd name="T4" fmla="*/ 0 w 336"/>
                <a:gd name="T5" fmla="*/ 197 h 227"/>
                <a:gd name="T6" fmla="*/ 0 w 336"/>
                <a:gd name="T7" fmla="*/ 30 h 227"/>
                <a:gd name="T8" fmla="*/ 30 w 336"/>
                <a:gd name="T9" fmla="*/ 0 h 227"/>
                <a:gd name="T10" fmla="*/ 306 w 336"/>
                <a:gd name="T11" fmla="*/ 0 h 227"/>
                <a:gd name="T12" fmla="*/ 336 w 336"/>
                <a:gd name="T13" fmla="*/ 30 h 227"/>
                <a:gd name="T14" fmla="*/ 336 w 336"/>
                <a:gd name="T15" fmla="*/ 197 h 227"/>
                <a:gd name="T16" fmla="*/ 306 w 336"/>
                <a:gd name="T17" fmla="*/ 227 h 227"/>
                <a:gd name="T18" fmla="*/ 30 w 336"/>
                <a:gd name="T19" fmla="*/ 8 h 227"/>
                <a:gd name="T20" fmla="*/ 9 w 336"/>
                <a:gd name="T21" fmla="*/ 30 h 227"/>
                <a:gd name="T22" fmla="*/ 9 w 336"/>
                <a:gd name="T23" fmla="*/ 197 h 227"/>
                <a:gd name="T24" fmla="*/ 30 w 336"/>
                <a:gd name="T25" fmla="*/ 218 h 227"/>
                <a:gd name="T26" fmla="*/ 306 w 336"/>
                <a:gd name="T27" fmla="*/ 218 h 227"/>
                <a:gd name="T28" fmla="*/ 328 w 336"/>
                <a:gd name="T29" fmla="*/ 197 h 227"/>
                <a:gd name="T30" fmla="*/ 328 w 336"/>
                <a:gd name="T31" fmla="*/ 30 h 227"/>
                <a:gd name="T32" fmla="*/ 306 w 336"/>
                <a:gd name="T33" fmla="*/ 8 h 227"/>
                <a:gd name="T34" fmla="*/ 30 w 336"/>
                <a:gd name="T35" fmla="*/ 8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36" h="227">
                  <a:moveTo>
                    <a:pt x="306" y="227"/>
                  </a:moveTo>
                  <a:cubicBezTo>
                    <a:pt x="30" y="227"/>
                    <a:pt x="30" y="227"/>
                    <a:pt x="30" y="227"/>
                  </a:cubicBezTo>
                  <a:cubicBezTo>
                    <a:pt x="14" y="227"/>
                    <a:pt x="0" y="213"/>
                    <a:pt x="0" y="197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306" y="0"/>
                    <a:pt x="306" y="0"/>
                    <a:pt x="306" y="0"/>
                  </a:cubicBezTo>
                  <a:cubicBezTo>
                    <a:pt x="323" y="0"/>
                    <a:pt x="336" y="13"/>
                    <a:pt x="336" y="30"/>
                  </a:cubicBezTo>
                  <a:cubicBezTo>
                    <a:pt x="336" y="197"/>
                    <a:pt x="336" y="197"/>
                    <a:pt x="336" y="197"/>
                  </a:cubicBezTo>
                  <a:cubicBezTo>
                    <a:pt x="336" y="213"/>
                    <a:pt x="323" y="227"/>
                    <a:pt x="306" y="227"/>
                  </a:cubicBezTo>
                  <a:close/>
                  <a:moveTo>
                    <a:pt x="30" y="8"/>
                  </a:moveTo>
                  <a:cubicBezTo>
                    <a:pt x="18" y="8"/>
                    <a:pt x="9" y="18"/>
                    <a:pt x="9" y="30"/>
                  </a:cubicBezTo>
                  <a:cubicBezTo>
                    <a:pt x="9" y="197"/>
                    <a:pt x="9" y="197"/>
                    <a:pt x="9" y="197"/>
                  </a:cubicBezTo>
                  <a:cubicBezTo>
                    <a:pt x="9" y="209"/>
                    <a:pt x="18" y="218"/>
                    <a:pt x="30" y="218"/>
                  </a:cubicBezTo>
                  <a:cubicBezTo>
                    <a:pt x="306" y="218"/>
                    <a:pt x="306" y="218"/>
                    <a:pt x="306" y="218"/>
                  </a:cubicBezTo>
                  <a:cubicBezTo>
                    <a:pt x="318" y="218"/>
                    <a:pt x="328" y="209"/>
                    <a:pt x="328" y="197"/>
                  </a:cubicBezTo>
                  <a:cubicBezTo>
                    <a:pt x="328" y="30"/>
                    <a:pt x="328" y="30"/>
                    <a:pt x="328" y="30"/>
                  </a:cubicBezTo>
                  <a:cubicBezTo>
                    <a:pt x="328" y="18"/>
                    <a:pt x="318" y="8"/>
                    <a:pt x="306" y="8"/>
                  </a:cubicBezTo>
                  <a:lnTo>
                    <a:pt x="30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4" name="Freeform 118">
              <a:extLst>
                <a:ext uri="{FF2B5EF4-FFF2-40B4-BE49-F238E27FC236}">
                  <a16:creationId xmlns:a16="http://schemas.microsoft.com/office/drawing/2014/main" id="{E927D0BB-490B-E801-2528-FE04031D36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293327" y="4289110"/>
              <a:ext cx="843805" cy="101910"/>
            </a:xfrm>
            <a:custGeom>
              <a:avLst/>
              <a:gdLst>
                <a:gd name="T0" fmla="*/ 306 w 336"/>
                <a:gd name="T1" fmla="*/ 40 h 40"/>
                <a:gd name="T2" fmla="*/ 30 w 336"/>
                <a:gd name="T3" fmla="*/ 40 h 40"/>
                <a:gd name="T4" fmla="*/ 0 w 336"/>
                <a:gd name="T5" fmla="*/ 10 h 40"/>
                <a:gd name="T6" fmla="*/ 0 w 336"/>
                <a:gd name="T7" fmla="*/ 4 h 40"/>
                <a:gd name="T8" fmla="*/ 4 w 336"/>
                <a:gd name="T9" fmla="*/ 0 h 40"/>
                <a:gd name="T10" fmla="*/ 332 w 336"/>
                <a:gd name="T11" fmla="*/ 0 h 40"/>
                <a:gd name="T12" fmla="*/ 336 w 336"/>
                <a:gd name="T13" fmla="*/ 4 h 40"/>
                <a:gd name="T14" fmla="*/ 336 w 336"/>
                <a:gd name="T15" fmla="*/ 10 h 40"/>
                <a:gd name="T16" fmla="*/ 306 w 336"/>
                <a:gd name="T17" fmla="*/ 40 h 40"/>
                <a:gd name="T18" fmla="*/ 9 w 336"/>
                <a:gd name="T19" fmla="*/ 8 h 40"/>
                <a:gd name="T20" fmla="*/ 9 w 336"/>
                <a:gd name="T21" fmla="*/ 10 h 40"/>
                <a:gd name="T22" fmla="*/ 30 w 336"/>
                <a:gd name="T23" fmla="*/ 31 h 40"/>
                <a:gd name="T24" fmla="*/ 306 w 336"/>
                <a:gd name="T25" fmla="*/ 31 h 40"/>
                <a:gd name="T26" fmla="*/ 328 w 336"/>
                <a:gd name="T27" fmla="*/ 10 h 40"/>
                <a:gd name="T28" fmla="*/ 328 w 336"/>
                <a:gd name="T29" fmla="*/ 8 h 40"/>
                <a:gd name="T30" fmla="*/ 9 w 336"/>
                <a:gd name="T31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6" h="40">
                  <a:moveTo>
                    <a:pt x="306" y="40"/>
                  </a:moveTo>
                  <a:cubicBezTo>
                    <a:pt x="30" y="40"/>
                    <a:pt x="30" y="40"/>
                    <a:pt x="30" y="40"/>
                  </a:cubicBezTo>
                  <a:cubicBezTo>
                    <a:pt x="14" y="40"/>
                    <a:pt x="0" y="26"/>
                    <a:pt x="0" y="1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32" y="0"/>
                    <a:pt x="332" y="0"/>
                    <a:pt x="332" y="0"/>
                  </a:cubicBezTo>
                  <a:cubicBezTo>
                    <a:pt x="334" y="0"/>
                    <a:pt x="336" y="2"/>
                    <a:pt x="336" y="4"/>
                  </a:cubicBezTo>
                  <a:cubicBezTo>
                    <a:pt x="336" y="10"/>
                    <a:pt x="336" y="10"/>
                    <a:pt x="336" y="10"/>
                  </a:cubicBezTo>
                  <a:cubicBezTo>
                    <a:pt x="336" y="26"/>
                    <a:pt x="323" y="40"/>
                    <a:pt x="306" y="40"/>
                  </a:cubicBezTo>
                  <a:close/>
                  <a:moveTo>
                    <a:pt x="9" y="8"/>
                  </a:moveTo>
                  <a:cubicBezTo>
                    <a:pt x="9" y="10"/>
                    <a:pt x="9" y="10"/>
                    <a:pt x="9" y="10"/>
                  </a:cubicBezTo>
                  <a:cubicBezTo>
                    <a:pt x="9" y="22"/>
                    <a:pt x="18" y="31"/>
                    <a:pt x="30" y="31"/>
                  </a:cubicBezTo>
                  <a:cubicBezTo>
                    <a:pt x="306" y="31"/>
                    <a:pt x="306" y="31"/>
                    <a:pt x="306" y="31"/>
                  </a:cubicBezTo>
                  <a:cubicBezTo>
                    <a:pt x="318" y="31"/>
                    <a:pt x="328" y="22"/>
                    <a:pt x="328" y="10"/>
                  </a:cubicBezTo>
                  <a:cubicBezTo>
                    <a:pt x="328" y="8"/>
                    <a:pt x="328" y="8"/>
                    <a:pt x="328" y="8"/>
                  </a:cubicBezTo>
                  <a:lnTo>
                    <a:pt x="9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5" name="Freeform 119">
              <a:extLst>
                <a:ext uri="{FF2B5EF4-FFF2-40B4-BE49-F238E27FC236}">
                  <a16:creationId xmlns:a16="http://schemas.microsoft.com/office/drawing/2014/main" id="{88ECA5CE-AABA-0884-BF1E-963764F2B3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926456" y="4366560"/>
              <a:ext cx="110063" cy="118215"/>
            </a:xfrm>
            <a:custGeom>
              <a:avLst/>
              <a:gdLst>
                <a:gd name="T0" fmla="*/ 40 w 44"/>
                <a:gd name="T1" fmla="*/ 47 h 47"/>
                <a:gd name="T2" fmla="*/ 4 w 44"/>
                <a:gd name="T3" fmla="*/ 47 h 47"/>
                <a:gd name="T4" fmla="*/ 0 w 44"/>
                <a:gd name="T5" fmla="*/ 42 h 47"/>
                <a:gd name="T6" fmla="*/ 0 w 44"/>
                <a:gd name="T7" fmla="*/ 5 h 47"/>
                <a:gd name="T8" fmla="*/ 4 w 44"/>
                <a:gd name="T9" fmla="*/ 0 h 47"/>
                <a:gd name="T10" fmla="*/ 40 w 44"/>
                <a:gd name="T11" fmla="*/ 0 h 47"/>
                <a:gd name="T12" fmla="*/ 44 w 44"/>
                <a:gd name="T13" fmla="*/ 5 h 47"/>
                <a:gd name="T14" fmla="*/ 44 w 44"/>
                <a:gd name="T15" fmla="*/ 42 h 47"/>
                <a:gd name="T16" fmla="*/ 40 w 44"/>
                <a:gd name="T17" fmla="*/ 47 h 47"/>
                <a:gd name="T18" fmla="*/ 9 w 44"/>
                <a:gd name="T19" fmla="*/ 38 h 47"/>
                <a:gd name="T20" fmla="*/ 36 w 44"/>
                <a:gd name="T21" fmla="*/ 38 h 47"/>
                <a:gd name="T22" fmla="*/ 36 w 44"/>
                <a:gd name="T23" fmla="*/ 9 h 47"/>
                <a:gd name="T24" fmla="*/ 9 w 44"/>
                <a:gd name="T25" fmla="*/ 9 h 47"/>
                <a:gd name="T26" fmla="*/ 9 w 44"/>
                <a:gd name="T27" fmla="*/ 38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47">
                  <a:moveTo>
                    <a:pt x="40" y="47"/>
                  </a:moveTo>
                  <a:cubicBezTo>
                    <a:pt x="4" y="47"/>
                    <a:pt x="4" y="47"/>
                    <a:pt x="4" y="47"/>
                  </a:cubicBezTo>
                  <a:cubicBezTo>
                    <a:pt x="2" y="47"/>
                    <a:pt x="0" y="45"/>
                    <a:pt x="0" y="4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2" y="0"/>
                    <a:pt x="44" y="2"/>
                    <a:pt x="44" y="5"/>
                  </a:cubicBezTo>
                  <a:cubicBezTo>
                    <a:pt x="44" y="42"/>
                    <a:pt x="44" y="42"/>
                    <a:pt x="44" y="42"/>
                  </a:cubicBezTo>
                  <a:cubicBezTo>
                    <a:pt x="44" y="45"/>
                    <a:pt x="42" y="47"/>
                    <a:pt x="40" y="47"/>
                  </a:cubicBezTo>
                  <a:close/>
                  <a:moveTo>
                    <a:pt x="9" y="38"/>
                  </a:moveTo>
                  <a:cubicBezTo>
                    <a:pt x="36" y="38"/>
                    <a:pt x="36" y="38"/>
                    <a:pt x="36" y="38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9" y="9"/>
                    <a:pt x="9" y="9"/>
                    <a:pt x="9" y="9"/>
                  </a:cubicBezTo>
                  <a:lnTo>
                    <a:pt x="9" y="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6" name="Freeform 120">
              <a:extLst>
                <a:ext uri="{FF2B5EF4-FFF2-40B4-BE49-F238E27FC236}">
                  <a16:creationId xmlns:a16="http://schemas.microsoft.com/office/drawing/2014/main" id="{4CA52B2D-81AB-4D54-4B19-53135D00B002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12058" y="4464392"/>
              <a:ext cx="281269" cy="20383"/>
            </a:xfrm>
            <a:custGeom>
              <a:avLst/>
              <a:gdLst>
                <a:gd name="T0" fmla="*/ 107 w 111"/>
                <a:gd name="T1" fmla="*/ 9 h 9"/>
                <a:gd name="T2" fmla="*/ 4 w 111"/>
                <a:gd name="T3" fmla="*/ 9 h 9"/>
                <a:gd name="T4" fmla="*/ 0 w 111"/>
                <a:gd name="T5" fmla="*/ 4 h 9"/>
                <a:gd name="T6" fmla="*/ 4 w 111"/>
                <a:gd name="T7" fmla="*/ 0 h 9"/>
                <a:gd name="T8" fmla="*/ 107 w 111"/>
                <a:gd name="T9" fmla="*/ 0 h 9"/>
                <a:gd name="T10" fmla="*/ 111 w 111"/>
                <a:gd name="T11" fmla="*/ 4 h 9"/>
                <a:gd name="T12" fmla="*/ 107 w 111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1" h="9">
                  <a:moveTo>
                    <a:pt x="107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9" y="0"/>
                    <a:pt x="111" y="2"/>
                    <a:pt x="111" y="4"/>
                  </a:cubicBezTo>
                  <a:cubicBezTo>
                    <a:pt x="111" y="7"/>
                    <a:pt x="109" y="9"/>
                    <a:pt x="107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3" name="Shape14_20200717_154352">
            <a:extLst>
              <a:ext uri="{FF2B5EF4-FFF2-40B4-BE49-F238E27FC236}">
                <a16:creationId xmlns:a16="http://schemas.microsoft.com/office/drawing/2014/main" id="{39BE56B0-8959-5CB2-1335-8BA3510F4CDB}"/>
              </a:ext>
            </a:extLst>
          </p:cNvPr>
          <p:cNvGrpSpPr>
            <a:grpSpLocks noChangeAspect="1"/>
          </p:cNvGrpSpPr>
          <p:nvPr/>
        </p:nvGrpSpPr>
        <p:grpSpPr>
          <a:xfrm>
            <a:off x="1829258" y="1247488"/>
            <a:ext cx="831575" cy="562536"/>
            <a:chOff x="-7626292" y="995422"/>
            <a:chExt cx="831575" cy="562536"/>
          </a:xfrm>
          <a:solidFill>
            <a:schemeClr val="accent1"/>
          </a:solidFill>
        </p:grpSpPr>
        <p:sp>
          <p:nvSpPr>
            <p:cNvPr id="181" name="Freeform 121">
              <a:extLst>
                <a:ext uri="{FF2B5EF4-FFF2-40B4-BE49-F238E27FC236}">
                  <a16:creationId xmlns:a16="http://schemas.microsoft.com/office/drawing/2014/main" id="{A094FF92-7F8D-D489-8519-2C8DE51F3930}"/>
                </a:ext>
              </a:extLst>
            </p:cNvPr>
            <p:cNvSpPr>
              <a:spLocks/>
            </p:cNvSpPr>
            <p:nvPr/>
          </p:nvSpPr>
          <p:spPr bwMode="auto">
            <a:xfrm>
              <a:off x="-7459163" y="1252231"/>
              <a:ext cx="493239" cy="260886"/>
            </a:xfrm>
            <a:custGeom>
              <a:avLst/>
              <a:gdLst>
                <a:gd name="T0" fmla="*/ 189 w 197"/>
                <a:gd name="T1" fmla="*/ 6 h 103"/>
                <a:gd name="T2" fmla="*/ 189 w 197"/>
                <a:gd name="T3" fmla="*/ 58 h 103"/>
                <a:gd name="T4" fmla="*/ 9 w 197"/>
                <a:gd name="T5" fmla="*/ 58 h 103"/>
                <a:gd name="T6" fmla="*/ 9 w 197"/>
                <a:gd name="T7" fmla="*/ 5 h 103"/>
                <a:gd name="T8" fmla="*/ 0 w 197"/>
                <a:gd name="T9" fmla="*/ 0 h 103"/>
                <a:gd name="T10" fmla="*/ 0 w 197"/>
                <a:gd name="T11" fmla="*/ 60 h 103"/>
                <a:gd name="T12" fmla="*/ 2 w 197"/>
                <a:gd name="T13" fmla="*/ 63 h 103"/>
                <a:gd name="T14" fmla="*/ 99 w 197"/>
                <a:gd name="T15" fmla="*/ 100 h 103"/>
                <a:gd name="T16" fmla="*/ 196 w 197"/>
                <a:gd name="T17" fmla="*/ 63 h 103"/>
                <a:gd name="T18" fmla="*/ 197 w 197"/>
                <a:gd name="T19" fmla="*/ 60 h 103"/>
                <a:gd name="T20" fmla="*/ 197 w 197"/>
                <a:gd name="T21" fmla="*/ 3 h 103"/>
                <a:gd name="T22" fmla="*/ 189 w 197"/>
                <a:gd name="T23" fmla="*/ 6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7" h="103">
                  <a:moveTo>
                    <a:pt x="189" y="6"/>
                  </a:moveTo>
                  <a:cubicBezTo>
                    <a:pt x="189" y="58"/>
                    <a:pt x="189" y="58"/>
                    <a:pt x="189" y="58"/>
                  </a:cubicBezTo>
                  <a:cubicBezTo>
                    <a:pt x="137" y="103"/>
                    <a:pt x="61" y="103"/>
                    <a:pt x="9" y="58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6" y="4"/>
                    <a:pt x="3" y="2"/>
                    <a:pt x="0" y="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1"/>
                    <a:pt x="1" y="62"/>
                    <a:pt x="2" y="63"/>
                  </a:cubicBezTo>
                  <a:cubicBezTo>
                    <a:pt x="30" y="88"/>
                    <a:pt x="64" y="100"/>
                    <a:pt x="99" y="100"/>
                  </a:cubicBezTo>
                  <a:cubicBezTo>
                    <a:pt x="134" y="100"/>
                    <a:pt x="168" y="88"/>
                    <a:pt x="196" y="63"/>
                  </a:cubicBezTo>
                  <a:cubicBezTo>
                    <a:pt x="197" y="62"/>
                    <a:pt x="197" y="61"/>
                    <a:pt x="197" y="60"/>
                  </a:cubicBezTo>
                  <a:cubicBezTo>
                    <a:pt x="197" y="3"/>
                    <a:pt x="197" y="3"/>
                    <a:pt x="197" y="3"/>
                  </a:cubicBezTo>
                  <a:cubicBezTo>
                    <a:pt x="195" y="4"/>
                    <a:pt x="192" y="5"/>
                    <a:pt x="189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2" name="Freeform 122">
              <a:extLst>
                <a:ext uri="{FF2B5EF4-FFF2-40B4-BE49-F238E27FC236}">
                  <a16:creationId xmlns:a16="http://schemas.microsoft.com/office/drawing/2014/main" id="{FA89E2E5-F3AA-4E9E-4D35-4C15DE514028}"/>
                </a:ext>
              </a:extLst>
            </p:cNvPr>
            <p:cNvSpPr>
              <a:spLocks/>
            </p:cNvSpPr>
            <p:nvPr/>
          </p:nvSpPr>
          <p:spPr bwMode="auto">
            <a:xfrm>
              <a:off x="-6974076" y="1403057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3" name="Freeform 123">
              <a:extLst>
                <a:ext uri="{FF2B5EF4-FFF2-40B4-BE49-F238E27FC236}">
                  <a16:creationId xmlns:a16="http://schemas.microsoft.com/office/drawing/2014/main" id="{2B2D55CE-899A-5413-534C-66E47BF921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626292" y="995422"/>
              <a:ext cx="831575" cy="383177"/>
            </a:xfrm>
            <a:custGeom>
              <a:avLst/>
              <a:gdLst>
                <a:gd name="T0" fmla="*/ 165 w 330"/>
                <a:gd name="T1" fmla="*/ 153 h 153"/>
                <a:gd name="T2" fmla="*/ 163 w 330"/>
                <a:gd name="T3" fmla="*/ 152 h 153"/>
                <a:gd name="T4" fmla="*/ 3 w 330"/>
                <a:gd name="T5" fmla="*/ 80 h 153"/>
                <a:gd name="T6" fmla="*/ 0 w 330"/>
                <a:gd name="T7" fmla="*/ 76 h 153"/>
                <a:gd name="T8" fmla="*/ 3 w 330"/>
                <a:gd name="T9" fmla="*/ 73 h 153"/>
                <a:gd name="T10" fmla="*/ 163 w 330"/>
                <a:gd name="T11" fmla="*/ 0 h 153"/>
                <a:gd name="T12" fmla="*/ 167 w 330"/>
                <a:gd name="T13" fmla="*/ 0 h 153"/>
                <a:gd name="T14" fmla="*/ 327 w 330"/>
                <a:gd name="T15" fmla="*/ 73 h 153"/>
                <a:gd name="T16" fmla="*/ 330 w 330"/>
                <a:gd name="T17" fmla="*/ 76 h 153"/>
                <a:gd name="T18" fmla="*/ 327 w 330"/>
                <a:gd name="T19" fmla="*/ 80 h 153"/>
                <a:gd name="T20" fmla="*/ 167 w 330"/>
                <a:gd name="T21" fmla="*/ 152 h 153"/>
                <a:gd name="T22" fmla="*/ 165 w 330"/>
                <a:gd name="T23" fmla="*/ 153 h 153"/>
                <a:gd name="T24" fmla="*/ 14 w 330"/>
                <a:gd name="T25" fmla="*/ 76 h 153"/>
                <a:gd name="T26" fmla="*/ 165 w 330"/>
                <a:gd name="T27" fmla="*/ 144 h 153"/>
                <a:gd name="T28" fmla="*/ 316 w 330"/>
                <a:gd name="T29" fmla="*/ 76 h 153"/>
                <a:gd name="T30" fmla="*/ 165 w 330"/>
                <a:gd name="T31" fmla="*/ 9 h 153"/>
                <a:gd name="T32" fmla="*/ 14 w 330"/>
                <a:gd name="T33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30" h="153">
                  <a:moveTo>
                    <a:pt x="165" y="153"/>
                  </a:moveTo>
                  <a:cubicBezTo>
                    <a:pt x="164" y="153"/>
                    <a:pt x="164" y="152"/>
                    <a:pt x="163" y="152"/>
                  </a:cubicBezTo>
                  <a:cubicBezTo>
                    <a:pt x="3" y="80"/>
                    <a:pt x="3" y="80"/>
                    <a:pt x="3" y="80"/>
                  </a:cubicBezTo>
                  <a:cubicBezTo>
                    <a:pt x="1" y="79"/>
                    <a:pt x="0" y="78"/>
                    <a:pt x="0" y="76"/>
                  </a:cubicBezTo>
                  <a:cubicBezTo>
                    <a:pt x="0" y="75"/>
                    <a:pt x="1" y="73"/>
                    <a:pt x="3" y="73"/>
                  </a:cubicBezTo>
                  <a:cubicBezTo>
                    <a:pt x="163" y="0"/>
                    <a:pt x="163" y="0"/>
                    <a:pt x="163" y="0"/>
                  </a:cubicBezTo>
                  <a:cubicBezTo>
                    <a:pt x="164" y="0"/>
                    <a:pt x="166" y="0"/>
                    <a:pt x="167" y="0"/>
                  </a:cubicBezTo>
                  <a:cubicBezTo>
                    <a:pt x="327" y="73"/>
                    <a:pt x="327" y="73"/>
                    <a:pt x="327" y="73"/>
                  </a:cubicBezTo>
                  <a:cubicBezTo>
                    <a:pt x="329" y="73"/>
                    <a:pt x="330" y="75"/>
                    <a:pt x="330" y="76"/>
                  </a:cubicBezTo>
                  <a:cubicBezTo>
                    <a:pt x="330" y="78"/>
                    <a:pt x="329" y="79"/>
                    <a:pt x="327" y="80"/>
                  </a:cubicBezTo>
                  <a:cubicBezTo>
                    <a:pt x="167" y="152"/>
                    <a:pt x="167" y="152"/>
                    <a:pt x="167" y="152"/>
                  </a:cubicBezTo>
                  <a:cubicBezTo>
                    <a:pt x="166" y="152"/>
                    <a:pt x="166" y="153"/>
                    <a:pt x="165" y="153"/>
                  </a:cubicBezTo>
                  <a:close/>
                  <a:moveTo>
                    <a:pt x="14" y="76"/>
                  </a:moveTo>
                  <a:cubicBezTo>
                    <a:pt x="165" y="144"/>
                    <a:pt x="165" y="144"/>
                    <a:pt x="165" y="144"/>
                  </a:cubicBezTo>
                  <a:cubicBezTo>
                    <a:pt x="316" y="76"/>
                    <a:pt x="316" y="76"/>
                    <a:pt x="316" y="76"/>
                  </a:cubicBezTo>
                  <a:cubicBezTo>
                    <a:pt x="165" y="9"/>
                    <a:pt x="165" y="9"/>
                    <a:pt x="165" y="9"/>
                  </a:cubicBezTo>
                  <a:lnTo>
                    <a:pt x="14" y="7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4" name="Freeform 124">
              <a:extLst>
                <a:ext uri="{FF2B5EF4-FFF2-40B4-BE49-F238E27FC236}">
                  <a16:creationId xmlns:a16="http://schemas.microsoft.com/office/drawing/2014/main" id="{F92A30AB-CEAD-9E2E-36E5-E639CE4A3C4A}"/>
                </a:ext>
              </a:extLst>
            </p:cNvPr>
            <p:cNvSpPr>
              <a:spLocks/>
            </p:cNvSpPr>
            <p:nvPr/>
          </p:nvSpPr>
          <p:spPr bwMode="auto">
            <a:xfrm>
              <a:off x="-7589606" y="1191087"/>
              <a:ext cx="20383" cy="199742"/>
            </a:xfrm>
            <a:custGeom>
              <a:avLst/>
              <a:gdLst>
                <a:gd name="T0" fmla="*/ 5 w 9"/>
                <a:gd name="T1" fmla="*/ 78 h 78"/>
                <a:gd name="T2" fmla="*/ 0 w 9"/>
                <a:gd name="T3" fmla="*/ 74 h 78"/>
                <a:gd name="T4" fmla="*/ 0 w 9"/>
                <a:gd name="T5" fmla="*/ 4 h 78"/>
                <a:gd name="T6" fmla="*/ 5 w 9"/>
                <a:gd name="T7" fmla="*/ 0 h 78"/>
                <a:gd name="T8" fmla="*/ 9 w 9"/>
                <a:gd name="T9" fmla="*/ 4 h 78"/>
                <a:gd name="T10" fmla="*/ 9 w 9"/>
                <a:gd name="T11" fmla="*/ 74 h 78"/>
                <a:gd name="T12" fmla="*/ 5 w 9"/>
                <a:gd name="T13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78">
                  <a:moveTo>
                    <a:pt x="5" y="78"/>
                  </a:moveTo>
                  <a:cubicBezTo>
                    <a:pt x="2" y="78"/>
                    <a:pt x="0" y="76"/>
                    <a:pt x="0" y="7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6"/>
                    <a:pt x="7" y="78"/>
                    <a:pt x="5" y="7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5" name="Freeform 125">
              <a:extLst>
                <a:ext uri="{FF2B5EF4-FFF2-40B4-BE49-F238E27FC236}">
                  <a16:creationId xmlns:a16="http://schemas.microsoft.com/office/drawing/2014/main" id="{3D3F7E98-0381-C602-C6A5-00971C9F2A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622217" y="1370446"/>
              <a:ext cx="89680" cy="89680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8 h 36"/>
                <a:gd name="T12" fmla="*/ 8 w 36"/>
                <a:gd name="T13" fmla="*/ 18 h 36"/>
                <a:gd name="T14" fmla="*/ 18 w 36"/>
                <a:gd name="T15" fmla="*/ 28 h 36"/>
                <a:gd name="T16" fmla="*/ 27 w 36"/>
                <a:gd name="T17" fmla="*/ 18 h 36"/>
                <a:gd name="T18" fmla="*/ 18 w 36"/>
                <a:gd name="T19" fmla="*/ 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7" y="0"/>
                    <a:pt x="36" y="8"/>
                    <a:pt x="36" y="18"/>
                  </a:cubicBezTo>
                  <a:cubicBezTo>
                    <a:pt x="36" y="28"/>
                    <a:pt x="27" y="36"/>
                    <a:pt x="18" y="36"/>
                  </a:cubicBezTo>
                  <a:close/>
                  <a:moveTo>
                    <a:pt x="18" y="8"/>
                  </a:moveTo>
                  <a:cubicBezTo>
                    <a:pt x="12" y="8"/>
                    <a:pt x="8" y="12"/>
                    <a:pt x="8" y="18"/>
                  </a:cubicBezTo>
                  <a:cubicBezTo>
                    <a:pt x="8" y="23"/>
                    <a:pt x="12" y="28"/>
                    <a:pt x="18" y="28"/>
                  </a:cubicBezTo>
                  <a:cubicBezTo>
                    <a:pt x="23" y="28"/>
                    <a:pt x="27" y="23"/>
                    <a:pt x="27" y="18"/>
                  </a:cubicBezTo>
                  <a:cubicBezTo>
                    <a:pt x="27" y="12"/>
                    <a:pt x="23" y="8"/>
                    <a:pt x="1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6" name="Freeform 126">
              <a:extLst>
                <a:ext uri="{FF2B5EF4-FFF2-40B4-BE49-F238E27FC236}">
                  <a16:creationId xmlns:a16="http://schemas.microsoft.com/office/drawing/2014/main" id="{90A02DCB-F57C-47FD-CE33-D9B0E8A25245}"/>
                </a:ext>
              </a:extLst>
            </p:cNvPr>
            <p:cNvSpPr>
              <a:spLocks/>
            </p:cNvSpPr>
            <p:nvPr/>
          </p:nvSpPr>
          <p:spPr bwMode="auto">
            <a:xfrm>
              <a:off x="-7626292" y="1435668"/>
              <a:ext cx="93757" cy="122290"/>
            </a:xfrm>
            <a:custGeom>
              <a:avLst/>
              <a:gdLst>
                <a:gd name="T0" fmla="*/ 32 w 37"/>
                <a:gd name="T1" fmla="*/ 48 h 48"/>
                <a:gd name="T2" fmla="*/ 5 w 37"/>
                <a:gd name="T3" fmla="*/ 48 h 48"/>
                <a:gd name="T4" fmla="*/ 2 w 37"/>
                <a:gd name="T5" fmla="*/ 47 h 48"/>
                <a:gd name="T6" fmla="*/ 1 w 37"/>
                <a:gd name="T7" fmla="*/ 43 h 48"/>
                <a:gd name="T8" fmla="*/ 8 w 37"/>
                <a:gd name="T9" fmla="*/ 4 h 48"/>
                <a:gd name="T10" fmla="*/ 13 w 37"/>
                <a:gd name="T11" fmla="*/ 1 h 48"/>
                <a:gd name="T12" fmla="*/ 16 w 37"/>
                <a:gd name="T13" fmla="*/ 5 h 48"/>
                <a:gd name="T14" fmla="*/ 10 w 37"/>
                <a:gd name="T15" fmla="*/ 40 h 48"/>
                <a:gd name="T16" fmla="*/ 27 w 37"/>
                <a:gd name="T17" fmla="*/ 40 h 48"/>
                <a:gd name="T18" fmla="*/ 21 w 37"/>
                <a:gd name="T19" fmla="*/ 5 h 48"/>
                <a:gd name="T20" fmla="*/ 24 w 37"/>
                <a:gd name="T21" fmla="*/ 1 h 48"/>
                <a:gd name="T22" fmla="*/ 29 w 37"/>
                <a:gd name="T23" fmla="*/ 4 h 48"/>
                <a:gd name="T24" fmla="*/ 36 w 37"/>
                <a:gd name="T25" fmla="*/ 43 h 48"/>
                <a:gd name="T26" fmla="*/ 36 w 37"/>
                <a:gd name="T27" fmla="*/ 47 h 48"/>
                <a:gd name="T28" fmla="*/ 32 w 37"/>
                <a:gd name="T2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7" h="48">
                  <a:moveTo>
                    <a:pt x="32" y="48"/>
                  </a:moveTo>
                  <a:cubicBezTo>
                    <a:pt x="5" y="48"/>
                    <a:pt x="5" y="48"/>
                    <a:pt x="5" y="48"/>
                  </a:cubicBezTo>
                  <a:cubicBezTo>
                    <a:pt x="3" y="48"/>
                    <a:pt x="2" y="48"/>
                    <a:pt x="2" y="47"/>
                  </a:cubicBezTo>
                  <a:cubicBezTo>
                    <a:pt x="1" y="46"/>
                    <a:pt x="0" y="45"/>
                    <a:pt x="1" y="43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2"/>
                    <a:pt x="11" y="0"/>
                    <a:pt x="13" y="1"/>
                  </a:cubicBezTo>
                  <a:cubicBezTo>
                    <a:pt x="15" y="1"/>
                    <a:pt x="17" y="3"/>
                    <a:pt x="16" y="5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27" y="40"/>
                    <a:pt x="27" y="40"/>
                    <a:pt x="27" y="40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0" y="3"/>
                    <a:pt x="22" y="1"/>
                    <a:pt x="24" y="1"/>
                  </a:cubicBezTo>
                  <a:cubicBezTo>
                    <a:pt x="26" y="0"/>
                    <a:pt x="28" y="2"/>
                    <a:pt x="29" y="4"/>
                  </a:cubicBezTo>
                  <a:cubicBezTo>
                    <a:pt x="36" y="43"/>
                    <a:pt x="36" y="43"/>
                    <a:pt x="36" y="43"/>
                  </a:cubicBezTo>
                  <a:cubicBezTo>
                    <a:pt x="37" y="45"/>
                    <a:pt x="36" y="46"/>
                    <a:pt x="36" y="47"/>
                  </a:cubicBezTo>
                  <a:cubicBezTo>
                    <a:pt x="35" y="48"/>
                    <a:pt x="34" y="48"/>
                    <a:pt x="32" y="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4" name="Shape0_20200717_154352">
            <a:extLst>
              <a:ext uri="{FF2B5EF4-FFF2-40B4-BE49-F238E27FC236}">
                <a16:creationId xmlns:a16="http://schemas.microsoft.com/office/drawing/2014/main" id="{4ACC5A2B-8187-5D9C-3AC5-2B0F95807D4D}"/>
              </a:ext>
            </a:extLst>
          </p:cNvPr>
          <p:cNvGrpSpPr>
            <a:grpSpLocks noChangeAspect="1"/>
          </p:cNvGrpSpPr>
          <p:nvPr/>
        </p:nvGrpSpPr>
        <p:grpSpPr>
          <a:xfrm>
            <a:off x="4379440" y="1267869"/>
            <a:ext cx="851958" cy="521772"/>
            <a:chOff x="-4960360" y="1015803"/>
            <a:chExt cx="851958" cy="521772"/>
          </a:xfrm>
          <a:solidFill>
            <a:schemeClr val="accent1"/>
          </a:solidFill>
        </p:grpSpPr>
        <p:sp>
          <p:nvSpPr>
            <p:cNvPr id="174" name="Freeform 127">
              <a:extLst>
                <a:ext uri="{FF2B5EF4-FFF2-40B4-BE49-F238E27FC236}">
                  <a16:creationId xmlns:a16="http://schemas.microsoft.com/office/drawing/2014/main" id="{07E92B2E-9B20-861A-D424-49A0976BAE20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78833" y="1015803"/>
              <a:ext cx="692979" cy="448398"/>
            </a:xfrm>
            <a:custGeom>
              <a:avLst/>
              <a:gdLst>
                <a:gd name="T0" fmla="*/ 270 w 275"/>
                <a:gd name="T1" fmla="*/ 178 h 178"/>
                <a:gd name="T2" fmla="*/ 266 w 275"/>
                <a:gd name="T3" fmla="*/ 174 h 178"/>
                <a:gd name="T4" fmla="*/ 266 w 275"/>
                <a:gd name="T5" fmla="*/ 24 h 178"/>
                <a:gd name="T6" fmla="*/ 251 w 275"/>
                <a:gd name="T7" fmla="*/ 9 h 178"/>
                <a:gd name="T8" fmla="*/ 23 w 275"/>
                <a:gd name="T9" fmla="*/ 9 h 178"/>
                <a:gd name="T10" fmla="*/ 8 w 275"/>
                <a:gd name="T11" fmla="*/ 24 h 178"/>
                <a:gd name="T12" fmla="*/ 8 w 275"/>
                <a:gd name="T13" fmla="*/ 174 h 178"/>
                <a:gd name="T14" fmla="*/ 4 w 275"/>
                <a:gd name="T15" fmla="*/ 178 h 178"/>
                <a:gd name="T16" fmla="*/ 0 w 275"/>
                <a:gd name="T17" fmla="*/ 174 h 178"/>
                <a:gd name="T18" fmla="*/ 0 w 275"/>
                <a:gd name="T19" fmla="*/ 24 h 178"/>
                <a:gd name="T20" fmla="*/ 23 w 275"/>
                <a:gd name="T21" fmla="*/ 0 h 178"/>
                <a:gd name="T22" fmla="*/ 251 w 275"/>
                <a:gd name="T23" fmla="*/ 0 h 178"/>
                <a:gd name="T24" fmla="*/ 275 w 275"/>
                <a:gd name="T25" fmla="*/ 24 h 178"/>
                <a:gd name="T26" fmla="*/ 275 w 275"/>
                <a:gd name="T27" fmla="*/ 174 h 178"/>
                <a:gd name="T28" fmla="*/ 270 w 275"/>
                <a:gd name="T29" fmla="*/ 178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5" h="178">
                  <a:moveTo>
                    <a:pt x="270" y="178"/>
                  </a:moveTo>
                  <a:cubicBezTo>
                    <a:pt x="268" y="178"/>
                    <a:pt x="266" y="176"/>
                    <a:pt x="266" y="174"/>
                  </a:cubicBezTo>
                  <a:cubicBezTo>
                    <a:pt x="266" y="24"/>
                    <a:pt x="266" y="24"/>
                    <a:pt x="266" y="24"/>
                  </a:cubicBezTo>
                  <a:cubicBezTo>
                    <a:pt x="266" y="15"/>
                    <a:pt x="260" y="9"/>
                    <a:pt x="251" y="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15" y="9"/>
                    <a:pt x="8" y="15"/>
                    <a:pt x="8" y="24"/>
                  </a:cubicBezTo>
                  <a:cubicBezTo>
                    <a:pt x="8" y="174"/>
                    <a:pt x="8" y="174"/>
                    <a:pt x="8" y="174"/>
                  </a:cubicBezTo>
                  <a:cubicBezTo>
                    <a:pt x="8" y="176"/>
                    <a:pt x="6" y="178"/>
                    <a:pt x="4" y="178"/>
                  </a:cubicBezTo>
                  <a:cubicBezTo>
                    <a:pt x="2" y="178"/>
                    <a:pt x="0" y="176"/>
                    <a:pt x="0" y="17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3" y="0"/>
                  </a:cubicBezTo>
                  <a:cubicBezTo>
                    <a:pt x="251" y="0"/>
                    <a:pt x="251" y="0"/>
                    <a:pt x="251" y="0"/>
                  </a:cubicBezTo>
                  <a:cubicBezTo>
                    <a:pt x="264" y="0"/>
                    <a:pt x="275" y="11"/>
                    <a:pt x="275" y="24"/>
                  </a:cubicBezTo>
                  <a:cubicBezTo>
                    <a:pt x="275" y="174"/>
                    <a:pt x="275" y="174"/>
                    <a:pt x="275" y="174"/>
                  </a:cubicBezTo>
                  <a:cubicBezTo>
                    <a:pt x="275" y="176"/>
                    <a:pt x="273" y="178"/>
                    <a:pt x="270" y="17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5" name="Freeform 128">
              <a:extLst>
                <a:ext uri="{FF2B5EF4-FFF2-40B4-BE49-F238E27FC236}">
                  <a16:creationId xmlns:a16="http://schemas.microsoft.com/office/drawing/2014/main" id="{9E348E0D-7DB7-185C-7803-9B02A569DD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960360" y="1447895"/>
              <a:ext cx="851958" cy="89680"/>
            </a:xfrm>
            <a:custGeom>
              <a:avLst/>
              <a:gdLst>
                <a:gd name="T0" fmla="*/ 306 w 338"/>
                <a:gd name="T1" fmla="*/ 36 h 36"/>
                <a:gd name="T2" fmla="*/ 32 w 338"/>
                <a:gd name="T3" fmla="*/ 36 h 36"/>
                <a:gd name="T4" fmla="*/ 0 w 338"/>
                <a:gd name="T5" fmla="*/ 4 h 36"/>
                <a:gd name="T6" fmla="*/ 4 w 338"/>
                <a:gd name="T7" fmla="*/ 0 h 36"/>
                <a:gd name="T8" fmla="*/ 124 w 338"/>
                <a:gd name="T9" fmla="*/ 0 h 36"/>
                <a:gd name="T10" fmla="*/ 133 w 338"/>
                <a:gd name="T11" fmla="*/ 6 h 36"/>
                <a:gd name="T12" fmla="*/ 135 w 338"/>
                <a:gd name="T13" fmla="*/ 7 h 36"/>
                <a:gd name="T14" fmla="*/ 204 w 338"/>
                <a:gd name="T15" fmla="*/ 7 h 36"/>
                <a:gd name="T16" fmla="*/ 205 w 338"/>
                <a:gd name="T17" fmla="*/ 6 h 36"/>
                <a:gd name="T18" fmla="*/ 205 w 338"/>
                <a:gd name="T19" fmla="*/ 6 h 36"/>
                <a:gd name="T20" fmla="*/ 214 w 338"/>
                <a:gd name="T21" fmla="*/ 0 h 36"/>
                <a:gd name="T22" fmla="*/ 334 w 338"/>
                <a:gd name="T23" fmla="*/ 0 h 36"/>
                <a:gd name="T24" fmla="*/ 338 w 338"/>
                <a:gd name="T25" fmla="*/ 4 h 36"/>
                <a:gd name="T26" fmla="*/ 306 w 338"/>
                <a:gd name="T27" fmla="*/ 36 h 36"/>
                <a:gd name="T28" fmla="*/ 9 w 338"/>
                <a:gd name="T29" fmla="*/ 8 h 36"/>
                <a:gd name="T30" fmla="*/ 32 w 338"/>
                <a:gd name="T31" fmla="*/ 28 h 36"/>
                <a:gd name="T32" fmla="*/ 306 w 338"/>
                <a:gd name="T33" fmla="*/ 28 h 36"/>
                <a:gd name="T34" fmla="*/ 330 w 338"/>
                <a:gd name="T35" fmla="*/ 8 h 36"/>
                <a:gd name="T36" fmla="*/ 214 w 338"/>
                <a:gd name="T37" fmla="*/ 8 h 36"/>
                <a:gd name="T38" fmla="*/ 213 w 338"/>
                <a:gd name="T39" fmla="*/ 9 h 36"/>
                <a:gd name="T40" fmla="*/ 213 w 338"/>
                <a:gd name="T41" fmla="*/ 9 h 36"/>
                <a:gd name="T42" fmla="*/ 204 w 338"/>
                <a:gd name="T43" fmla="*/ 15 h 36"/>
                <a:gd name="T44" fmla="*/ 135 w 338"/>
                <a:gd name="T45" fmla="*/ 15 h 36"/>
                <a:gd name="T46" fmla="*/ 126 w 338"/>
                <a:gd name="T47" fmla="*/ 9 h 36"/>
                <a:gd name="T48" fmla="*/ 124 w 338"/>
                <a:gd name="T49" fmla="*/ 8 h 36"/>
                <a:gd name="T50" fmla="*/ 9 w 338"/>
                <a:gd name="T51" fmla="*/ 8 h 36"/>
                <a:gd name="T52" fmla="*/ 209 w 338"/>
                <a:gd name="T53" fmla="*/ 8 h 36"/>
                <a:gd name="T54" fmla="*/ 209 w 338"/>
                <a:gd name="T55" fmla="*/ 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38" h="36">
                  <a:moveTo>
                    <a:pt x="306" y="36"/>
                  </a:moveTo>
                  <a:cubicBezTo>
                    <a:pt x="32" y="36"/>
                    <a:pt x="32" y="36"/>
                    <a:pt x="32" y="36"/>
                  </a:cubicBezTo>
                  <a:cubicBezTo>
                    <a:pt x="15" y="36"/>
                    <a:pt x="0" y="22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8" y="0"/>
                    <a:pt x="131" y="2"/>
                    <a:pt x="133" y="6"/>
                  </a:cubicBezTo>
                  <a:cubicBezTo>
                    <a:pt x="133" y="6"/>
                    <a:pt x="134" y="7"/>
                    <a:pt x="135" y="7"/>
                  </a:cubicBezTo>
                  <a:cubicBezTo>
                    <a:pt x="204" y="7"/>
                    <a:pt x="204" y="7"/>
                    <a:pt x="204" y="7"/>
                  </a:cubicBezTo>
                  <a:cubicBezTo>
                    <a:pt x="204" y="7"/>
                    <a:pt x="205" y="6"/>
                    <a:pt x="205" y="6"/>
                  </a:cubicBezTo>
                  <a:cubicBezTo>
                    <a:pt x="205" y="6"/>
                    <a:pt x="205" y="6"/>
                    <a:pt x="205" y="6"/>
                  </a:cubicBezTo>
                  <a:cubicBezTo>
                    <a:pt x="207" y="2"/>
                    <a:pt x="211" y="0"/>
                    <a:pt x="214" y="0"/>
                  </a:cubicBezTo>
                  <a:cubicBezTo>
                    <a:pt x="334" y="0"/>
                    <a:pt x="334" y="0"/>
                    <a:pt x="334" y="0"/>
                  </a:cubicBezTo>
                  <a:cubicBezTo>
                    <a:pt x="336" y="0"/>
                    <a:pt x="338" y="2"/>
                    <a:pt x="338" y="4"/>
                  </a:cubicBezTo>
                  <a:cubicBezTo>
                    <a:pt x="338" y="22"/>
                    <a:pt x="324" y="36"/>
                    <a:pt x="306" y="36"/>
                  </a:cubicBezTo>
                  <a:close/>
                  <a:moveTo>
                    <a:pt x="9" y="8"/>
                  </a:moveTo>
                  <a:cubicBezTo>
                    <a:pt x="11" y="19"/>
                    <a:pt x="21" y="28"/>
                    <a:pt x="32" y="28"/>
                  </a:cubicBezTo>
                  <a:cubicBezTo>
                    <a:pt x="306" y="28"/>
                    <a:pt x="306" y="28"/>
                    <a:pt x="306" y="28"/>
                  </a:cubicBezTo>
                  <a:cubicBezTo>
                    <a:pt x="318" y="28"/>
                    <a:pt x="328" y="19"/>
                    <a:pt x="330" y="8"/>
                  </a:cubicBezTo>
                  <a:cubicBezTo>
                    <a:pt x="214" y="8"/>
                    <a:pt x="214" y="8"/>
                    <a:pt x="214" y="8"/>
                  </a:cubicBezTo>
                  <a:cubicBezTo>
                    <a:pt x="214" y="8"/>
                    <a:pt x="213" y="9"/>
                    <a:pt x="213" y="9"/>
                  </a:cubicBezTo>
                  <a:cubicBezTo>
                    <a:pt x="213" y="9"/>
                    <a:pt x="213" y="9"/>
                    <a:pt x="213" y="9"/>
                  </a:cubicBezTo>
                  <a:cubicBezTo>
                    <a:pt x="211" y="13"/>
                    <a:pt x="208" y="15"/>
                    <a:pt x="204" y="15"/>
                  </a:cubicBezTo>
                  <a:cubicBezTo>
                    <a:pt x="135" y="15"/>
                    <a:pt x="135" y="15"/>
                    <a:pt x="135" y="15"/>
                  </a:cubicBezTo>
                  <a:cubicBezTo>
                    <a:pt x="131" y="15"/>
                    <a:pt x="127" y="13"/>
                    <a:pt x="126" y="9"/>
                  </a:cubicBezTo>
                  <a:cubicBezTo>
                    <a:pt x="125" y="9"/>
                    <a:pt x="125" y="8"/>
                    <a:pt x="124" y="8"/>
                  </a:cubicBezTo>
                  <a:lnTo>
                    <a:pt x="9" y="8"/>
                  </a:lnTo>
                  <a:close/>
                  <a:moveTo>
                    <a:pt x="209" y="8"/>
                  </a:moveTo>
                  <a:cubicBezTo>
                    <a:pt x="209" y="8"/>
                    <a:pt x="209" y="8"/>
                    <a:pt x="20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6" name="Freeform 129">
              <a:extLst>
                <a:ext uri="{FF2B5EF4-FFF2-40B4-BE49-F238E27FC236}">
                  <a16:creationId xmlns:a16="http://schemas.microsoft.com/office/drawing/2014/main" id="{42559B4C-E1BA-2FD6-7555-7D38AB627B2C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83168" y="1231850"/>
              <a:ext cx="301650" cy="150826"/>
            </a:xfrm>
            <a:custGeom>
              <a:avLst/>
              <a:gdLst>
                <a:gd name="T0" fmla="*/ 110 w 119"/>
                <a:gd name="T1" fmla="*/ 6 h 60"/>
                <a:gd name="T2" fmla="*/ 110 w 119"/>
                <a:gd name="T3" fmla="*/ 33 h 60"/>
                <a:gd name="T4" fmla="*/ 8 w 119"/>
                <a:gd name="T5" fmla="*/ 33 h 60"/>
                <a:gd name="T6" fmla="*/ 8 w 119"/>
                <a:gd name="T7" fmla="*/ 4 h 60"/>
                <a:gd name="T8" fmla="*/ 0 w 119"/>
                <a:gd name="T9" fmla="*/ 0 h 60"/>
                <a:gd name="T10" fmla="*/ 0 w 119"/>
                <a:gd name="T11" fmla="*/ 35 h 60"/>
                <a:gd name="T12" fmla="*/ 1 w 119"/>
                <a:gd name="T13" fmla="*/ 38 h 60"/>
                <a:gd name="T14" fmla="*/ 59 w 119"/>
                <a:gd name="T15" fmla="*/ 60 h 60"/>
                <a:gd name="T16" fmla="*/ 117 w 119"/>
                <a:gd name="T17" fmla="*/ 38 h 60"/>
                <a:gd name="T18" fmla="*/ 119 w 119"/>
                <a:gd name="T19" fmla="*/ 35 h 60"/>
                <a:gd name="T20" fmla="*/ 119 w 119"/>
                <a:gd name="T21" fmla="*/ 1 h 60"/>
                <a:gd name="T22" fmla="*/ 110 w 119"/>
                <a:gd name="T23" fmla="*/ 6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9" h="60">
                  <a:moveTo>
                    <a:pt x="110" y="6"/>
                  </a:moveTo>
                  <a:cubicBezTo>
                    <a:pt x="110" y="33"/>
                    <a:pt x="110" y="33"/>
                    <a:pt x="110" y="33"/>
                  </a:cubicBezTo>
                  <a:cubicBezTo>
                    <a:pt x="81" y="58"/>
                    <a:pt x="38" y="58"/>
                    <a:pt x="8" y="33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5" y="3"/>
                    <a:pt x="3" y="1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6"/>
                    <a:pt x="0" y="37"/>
                    <a:pt x="1" y="38"/>
                  </a:cubicBezTo>
                  <a:cubicBezTo>
                    <a:pt x="18" y="52"/>
                    <a:pt x="39" y="60"/>
                    <a:pt x="59" y="60"/>
                  </a:cubicBezTo>
                  <a:cubicBezTo>
                    <a:pt x="80" y="60"/>
                    <a:pt x="101" y="52"/>
                    <a:pt x="117" y="38"/>
                  </a:cubicBezTo>
                  <a:cubicBezTo>
                    <a:pt x="118" y="37"/>
                    <a:pt x="119" y="36"/>
                    <a:pt x="119" y="35"/>
                  </a:cubicBezTo>
                  <a:cubicBezTo>
                    <a:pt x="119" y="1"/>
                    <a:pt x="119" y="1"/>
                    <a:pt x="119" y="1"/>
                  </a:cubicBezTo>
                  <a:cubicBezTo>
                    <a:pt x="116" y="3"/>
                    <a:pt x="113" y="4"/>
                    <a:pt x="110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7" name="Freeform 130">
              <a:extLst>
                <a:ext uri="{FF2B5EF4-FFF2-40B4-BE49-F238E27FC236}">
                  <a16:creationId xmlns:a16="http://schemas.microsoft.com/office/drawing/2014/main" id="{2B0252C5-AE25-3741-08FC-27CD4F1D36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781001" y="1072871"/>
              <a:ext cx="493239" cy="232353"/>
            </a:xfrm>
            <a:custGeom>
              <a:avLst/>
              <a:gdLst>
                <a:gd name="T0" fmla="*/ 98 w 196"/>
                <a:gd name="T1" fmla="*/ 93 h 93"/>
                <a:gd name="T2" fmla="*/ 97 w 196"/>
                <a:gd name="T3" fmla="*/ 93 h 93"/>
                <a:gd name="T4" fmla="*/ 3 w 196"/>
                <a:gd name="T5" fmla="*/ 51 h 93"/>
                <a:gd name="T6" fmla="*/ 0 w 196"/>
                <a:gd name="T7" fmla="*/ 47 h 93"/>
                <a:gd name="T8" fmla="*/ 3 w 196"/>
                <a:gd name="T9" fmla="*/ 43 h 93"/>
                <a:gd name="T10" fmla="*/ 97 w 196"/>
                <a:gd name="T11" fmla="*/ 1 h 93"/>
                <a:gd name="T12" fmla="*/ 100 w 196"/>
                <a:gd name="T13" fmla="*/ 1 h 93"/>
                <a:gd name="T14" fmla="*/ 194 w 196"/>
                <a:gd name="T15" fmla="*/ 43 h 93"/>
                <a:gd name="T16" fmla="*/ 196 w 196"/>
                <a:gd name="T17" fmla="*/ 47 h 93"/>
                <a:gd name="T18" fmla="*/ 194 w 196"/>
                <a:gd name="T19" fmla="*/ 51 h 93"/>
                <a:gd name="T20" fmla="*/ 100 w 196"/>
                <a:gd name="T21" fmla="*/ 93 h 93"/>
                <a:gd name="T22" fmla="*/ 98 w 196"/>
                <a:gd name="T23" fmla="*/ 93 h 93"/>
                <a:gd name="T24" fmla="*/ 14 w 196"/>
                <a:gd name="T25" fmla="*/ 47 h 93"/>
                <a:gd name="T26" fmla="*/ 98 w 196"/>
                <a:gd name="T27" fmla="*/ 85 h 93"/>
                <a:gd name="T28" fmla="*/ 182 w 196"/>
                <a:gd name="T29" fmla="*/ 47 h 93"/>
                <a:gd name="T30" fmla="*/ 98 w 196"/>
                <a:gd name="T31" fmla="*/ 9 h 93"/>
                <a:gd name="T32" fmla="*/ 14 w 196"/>
                <a:gd name="T33" fmla="*/ 47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6" h="93">
                  <a:moveTo>
                    <a:pt x="98" y="93"/>
                  </a:moveTo>
                  <a:cubicBezTo>
                    <a:pt x="98" y="93"/>
                    <a:pt x="97" y="93"/>
                    <a:pt x="97" y="93"/>
                  </a:cubicBezTo>
                  <a:cubicBezTo>
                    <a:pt x="3" y="51"/>
                    <a:pt x="3" y="51"/>
                    <a:pt x="3" y="51"/>
                  </a:cubicBezTo>
                  <a:cubicBezTo>
                    <a:pt x="1" y="50"/>
                    <a:pt x="0" y="49"/>
                    <a:pt x="0" y="47"/>
                  </a:cubicBezTo>
                  <a:cubicBezTo>
                    <a:pt x="0" y="45"/>
                    <a:pt x="1" y="44"/>
                    <a:pt x="3" y="43"/>
                  </a:cubicBezTo>
                  <a:cubicBezTo>
                    <a:pt x="97" y="1"/>
                    <a:pt x="97" y="1"/>
                    <a:pt x="97" y="1"/>
                  </a:cubicBezTo>
                  <a:cubicBezTo>
                    <a:pt x="98" y="0"/>
                    <a:pt x="99" y="0"/>
                    <a:pt x="100" y="1"/>
                  </a:cubicBezTo>
                  <a:cubicBezTo>
                    <a:pt x="194" y="43"/>
                    <a:pt x="194" y="43"/>
                    <a:pt x="194" y="43"/>
                  </a:cubicBezTo>
                  <a:cubicBezTo>
                    <a:pt x="196" y="44"/>
                    <a:pt x="196" y="45"/>
                    <a:pt x="196" y="47"/>
                  </a:cubicBezTo>
                  <a:cubicBezTo>
                    <a:pt x="196" y="49"/>
                    <a:pt x="196" y="50"/>
                    <a:pt x="194" y="51"/>
                  </a:cubicBezTo>
                  <a:cubicBezTo>
                    <a:pt x="100" y="93"/>
                    <a:pt x="100" y="93"/>
                    <a:pt x="100" y="93"/>
                  </a:cubicBezTo>
                  <a:cubicBezTo>
                    <a:pt x="99" y="93"/>
                    <a:pt x="99" y="93"/>
                    <a:pt x="98" y="93"/>
                  </a:cubicBezTo>
                  <a:close/>
                  <a:moveTo>
                    <a:pt x="14" y="47"/>
                  </a:moveTo>
                  <a:cubicBezTo>
                    <a:pt x="98" y="85"/>
                    <a:pt x="98" y="85"/>
                    <a:pt x="98" y="85"/>
                  </a:cubicBezTo>
                  <a:cubicBezTo>
                    <a:pt x="182" y="47"/>
                    <a:pt x="182" y="47"/>
                    <a:pt x="182" y="47"/>
                  </a:cubicBezTo>
                  <a:cubicBezTo>
                    <a:pt x="98" y="9"/>
                    <a:pt x="98" y="9"/>
                    <a:pt x="98" y="9"/>
                  </a:cubicBezTo>
                  <a:lnTo>
                    <a:pt x="14" y="4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8" name="Freeform 131">
              <a:extLst>
                <a:ext uri="{FF2B5EF4-FFF2-40B4-BE49-F238E27FC236}">
                  <a16:creationId xmlns:a16="http://schemas.microsoft.com/office/drawing/2014/main" id="{8484D974-C977-A7F5-2339-7D3AE8C2EE59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56543" y="1191087"/>
              <a:ext cx="20383" cy="122290"/>
            </a:xfrm>
            <a:custGeom>
              <a:avLst/>
              <a:gdLst>
                <a:gd name="T0" fmla="*/ 4 w 8"/>
                <a:gd name="T1" fmla="*/ 49 h 49"/>
                <a:gd name="T2" fmla="*/ 0 w 8"/>
                <a:gd name="T3" fmla="*/ 45 h 49"/>
                <a:gd name="T4" fmla="*/ 0 w 8"/>
                <a:gd name="T5" fmla="*/ 4 h 49"/>
                <a:gd name="T6" fmla="*/ 4 w 8"/>
                <a:gd name="T7" fmla="*/ 0 h 49"/>
                <a:gd name="T8" fmla="*/ 8 w 8"/>
                <a:gd name="T9" fmla="*/ 4 h 49"/>
                <a:gd name="T10" fmla="*/ 8 w 8"/>
                <a:gd name="T11" fmla="*/ 45 h 49"/>
                <a:gd name="T12" fmla="*/ 4 w 8"/>
                <a:gd name="T1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9">
                  <a:moveTo>
                    <a:pt x="4" y="49"/>
                  </a:moveTo>
                  <a:cubicBezTo>
                    <a:pt x="1" y="49"/>
                    <a:pt x="0" y="47"/>
                    <a:pt x="0" y="4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1" y="0"/>
                    <a:pt x="4" y="0"/>
                  </a:cubicBezTo>
                  <a:cubicBezTo>
                    <a:pt x="6" y="0"/>
                    <a:pt x="8" y="1"/>
                    <a:pt x="8" y="4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8" y="47"/>
                    <a:pt x="6" y="49"/>
                    <a:pt x="4" y="4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9" name="Freeform 132">
              <a:extLst>
                <a:ext uri="{FF2B5EF4-FFF2-40B4-BE49-F238E27FC236}">
                  <a16:creationId xmlns:a16="http://schemas.microsoft.com/office/drawing/2014/main" id="{27A4EF98-AF7F-F039-3A4E-E905C8757C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781001" y="1292994"/>
              <a:ext cx="65222" cy="61146"/>
            </a:xfrm>
            <a:custGeom>
              <a:avLst/>
              <a:gdLst>
                <a:gd name="T0" fmla="*/ 13 w 25"/>
                <a:gd name="T1" fmla="*/ 24 h 24"/>
                <a:gd name="T2" fmla="*/ 0 w 25"/>
                <a:gd name="T3" fmla="*/ 12 h 24"/>
                <a:gd name="T4" fmla="*/ 13 w 25"/>
                <a:gd name="T5" fmla="*/ 0 h 24"/>
                <a:gd name="T6" fmla="*/ 25 w 25"/>
                <a:gd name="T7" fmla="*/ 12 h 24"/>
                <a:gd name="T8" fmla="*/ 13 w 25"/>
                <a:gd name="T9" fmla="*/ 24 h 24"/>
                <a:gd name="T10" fmla="*/ 13 w 25"/>
                <a:gd name="T11" fmla="*/ 8 h 24"/>
                <a:gd name="T12" fmla="*/ 9 w 25"/>
                <a:gd name="T13" fmla="*/ 12 h 24"/>
                <a:gd name="T14" fmla="*/ 13 w 25"/>
                <a:gd name="T15" fmla="*/ 16 h 24"/>
                <a:gd name="T16" fmla="*/ 17 w 25"/>
                <a:gd name="T17" fmla="*/ 12 h 24"/>
                <a:gd name="T18" fmla="*/ 13 w 25"/>
                <a:gd name="T19" fmla="*/ 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24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19" y="0"/>
                    <a:pt x="25" y="5"/>
                    <a:pt x="25" y="12"/>
                  </a:cubicBezTo>
                  <a:cubicBezTo>
                    <a:pt x="25" y="19"/>
                    <a:pt x="19" y="24"/>
                    <a:pt x="13" y="24"/>
                  </a:cubicBezTo>
                  <a:close/>
                  <a:moveTo>
                    <a:pt x="13" y="8"/>
                  </a:moveTo>
                  <a:cubicBezTo>
                    <a:pt x="10" y="8"/>
                    <a:pt x="9" y="10"/>
                    <a:pt x="9" y="12"/>
                  </a:cubicBezTo>
                  <a:cubicBezTo>
                    <a:pt x="9" y="14"/>
                    <a:pt x="10" y="16"/>
                    <a:pt x="13" y="16"/>
                  </a:cubicBezTo>
                  <a:cubicBezTo>
                    <a:pt x="15" y="16"/>
                    <a:pt x="17" y="14"/>
                    <a:pt x="17" y="12"/>
                  </a:cubicBezTo>
                  <a:cubicBezTo>
                    <a:pt x="17" y="10"/>
                    <a:pt x="15" y="8"/>
                    <a:pt x="13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0" name="Freeform 133">
              <a:extLst>
                <a:ext uri="{FF2B5EF4-FFF2-40B4-BE49-F238E27FC236}">
                  <a16:creationId xmlns:a16="http://schemas.microsoft.com/office/drawing/2014/main" id="{D8759F93-7466-373D-B752-6BA4B54888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781001" y="1329683"/>
              <a:ext cx="65222" cy="81527"/>
            </a:xfrm>
            <a:custGeom>
              <a:avLst/>
              <a:gdLst>
                <a:gd name="T0" fmla="*/ 21 w 25"/>
                <a:gd name="T1" fmla="*/ 32 h 32"/>
                <a:gd name="T2" fmla="*/ 5 w 25"/>
                <a:gd name="T3" fmla="*/ 32 h 32"/>
                <a:gd name="T4" fmla="*/ 1 w 25"/>
                <a:gd name="T5" fmla="*/ 31 h 32"/>
                <a:gd name="T6" fmla="*/ 0 w 25"/>
                <a:gd name="T7" fmla="*/ 27 h 32"/>
                <a:gd name="T8" fmla="*/ 5 w 25"/>
                <a:gd name="T9" fmla="*/ 4 h 32"/>
                <a:gd name="T10" fmla="*/ 10 w 25"/>
                <a:gd name="T11" fmla="*/ 1 h 32"/>
                <a:gd name="T12" fmla="*/ 13 w 25"/>
                <a:gd name="T13" fmla="*/ 3 h 32"/>
                <a:gd name="T14" fmla="*/ 15 w 25"/>
                <a:gd name="T15" fmla="*/ 1 h 32"/>
                <a:gd name="T16" fmla="*/ 20 w 25"/>
                <a:gd name="T17" fmla="*/ 4 h 32"/>
                <a:gd name="T18" fmla="*/ 25 w 25"/>
                <a:gd name="T19" fmla="*/ 27 h 32"/>
                <a:gd name="T20" fmla="*/ 24 w 25"/>
                <a:gd name="T21" fmla="*/ 31 h 32"/>
                <a:gd name="T22" fmla="*/ 21 w 25"/>
                <a:gd name="T23" fmla="*/ 32 h 32"/>
                <a:gd name="T24" fmla="*/ 10 w 25"/>
                <a:gd name="T25" fmla="*/ 24 h 32"/>
                <a:gd name="T26" fmla="*/ 16 w 25"/>
                <a:gd name="T27" fmla="*/ 24 h 32"/>
                <a:gd name="T28" fmla="*/ 13 w 25"/>
                <a:gd name="T29" fmla="*/ 8 h 32"/>
                <a:gd name="T30" fmla="*/ 10 w 25"/>
                <a:gd name="T31" fmla="*/ 2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" h="32">
                  <a:moveTo>
                    <a:pt x="21" y="32"/>
                  </a:moveTo>
                  <a:cubicBezTo>
                    <a:pt x="5" y="32"/>
                    <a:pt x="5" y="32"/>
                    <a:pt x="5" y="32"/>
                  </a:cubicBezTo>
                  <a:cubicBezTo>
                    <a:pt x="3" y="32"/>
                    <a:pt x="2" y="32"/>
                    <a:pt x="1" y="31"/>
                  </a:cubicBezTo>
                  <a:cubicBezTo>
                    <a:pt x="1" y="30"/>
                    <a:pt x="0" y="29"/>
                    <a:pt x="0" y="27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2"/>
                    <a:pt x="8" y="0"/>
                    <a:pt x="10" y="1"/>
                  </a:cubicBezTo>
                  <a:cubicBezTo>
                    <a:pt x="11" y="1"/>
                    <a:pt x="12" y="2"/>
                    <a:pt x="13" y="3"/>
                  </a:cubicBezTo>
                  <a:cubicBezTo>
                    <a:pt x="13" y="2"/>
                    <a:pt x="14" y="1"/>
                    <a:pt x="15" y="1"/>
                  </a:cubicBezTo>
                  <a:cubicBezTo>
                    <a:pt x="18" y="0"/>
                    <a:pt x="20" y="2"/>
                    <a:pt x="20" y="4"/>
                  </a:cubicBezTo>
                  <a:cubicBezTo>
                    <a:pt x="25" y="27"/>
                    <a:pt x="25" y="27"/>
                    <a:pt x="25" y="27"/>
                  </a:cubicBezTo>
                  <a:cubicBezTo>
                    <a:pt x="25" y="29"/>
                    <a:pt x="25" y="30"/>
                    <a:pt x="24" y="31"/>
                  </a:cubicBezTo>
                  <a:cubicBezTo>
                    <a:pt x="23" y="32"/>
                    <a:pt x="22" y="32"/>
                    <a:pt x="21" y="32"/>
                  </a:cubicBezTo>
                  <a:close/>
                  <a:moveTo>
                    <a:pt x="10" y="24"/>
                  </a:moveTo>
                  <a:cubicBezTo>
                    <a:pt x="16" y="24"/>
                    <a:pt x="16" y="24"/>
                    <a:pt x="16" y="24"/>
                  </a:cubicBezTo>
                  <a:cubicBezTo>
                    <a:pt x="13" y="8"/>
                    <a:pt x="13" y="8"/>
                    <a:pt x="13" y="8"/>
                  </a:cubicBezTo>
                  <a:lnTo>
                    <a:pt x="10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5" name="Shape15_20200717_154352">
            <a:extLst>
              <a:ext uri="{FF2B5EF4-FFF2-40B4-BE49-F238E27FC236}">
                <a16:creationId xmlns:a16="http://schemas.microsoft.com/office/drawing/2014/main" id="{08572422-5383-FCB5-BDFA-5E678013BE4C}"/>
              </a:ext>
            </a:extLst>
          </p:cNvPr>
          <p:cNvGrpSpPr>
            <a:grpSpLocks noChangeAspect="1"/>
          </p:cNvGrpSpPr>
          <p:nvPr/>
        </p:nvGrpSpPr>
        <p:grpSpPr>
          <a:xfrm>
            <a:off x="3267402" y="1214877"/>
            <a:ext cx="517698" cy="627758"/>
            <a:chOff x="-6130273" y="962811"/>
            <a:chExt cx="517698" cy="627758"/>
          </a:xfrm>
          <a:solidFill>
            <a:schemeClr val="accent1"/>
          </a:solidFill>
        </p:grpSpPr>
        <p:sp>
          <p:nvSpPr>
            <p:cNvPr id="168" name="Freeform 134">
              <a:extLst>
                <a:ext uri="{FF2B5EF4-FFF2-40B4-BE49-F238E27FC236}">
                  <a16:creationId xmlns:a16="http://schemas.microsoft.com/office/drawing/2014/main" id="{B607170B-CA0F-AC4F-8330-F7DB6172ABC8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30273" y="1378599"/>
              <a:ext cx="517698" cy="211970"/>
            </a:xfrm>
            <a:custGeom>
              <a:avLst/>
              <a:gdLst>
                <a:gd name="T0" fmla="*/ 203 w 207"/>
                <a:gd name="T1" fmla="*/ 85 h 85"/>
                <a:gd name="T2" fmla="*/ 198 w 207"/>
                <a:gd name="T3" fmla="*/ 81 h 85"/>
                <a:gd name="T4" fmla="*/ 198 w 207"/>
                <a:gd name="T5" fmla="*/ 48 h 85"/>
                <a:gd name="T6" fmla="*/ 159 w 207"/>
                <a:gd name="T7" fmla="*/ 8 h 85"/>
                <a:gd name="T8" fmla="*/ 48 w 207"/>
                <a:gd name="T9" fmla="*/ 8 h 85"/>
                <a:gd name="T10" fmla="*/ 8 w 207"/>
                <a:gd name="T11" fmla="*/ 48 h 85"/>
                <a:gd name="T12" fmla="*/ 8 w 207"/>
                <a:gd name="T13" fmla="*/ 81 h 85"/>
                <a:gd name="T14" fmla="*/ 4 w 207"/>
                <a:gd name="T15" fmla="*/ 85 h 85"/>
                <a:gd name="T16" fmla="*/ 0 w 207"/>
                <a:gd name="T17" fmla="*/ 81 h 85"/>
                <a:gd name="T18" fmla="*/ 0 w 207"/>
                <a:gd name="T19" fmla="*/ 48 h 85"/>
                <a:gd name="T20" fmla="*/ 48 w 207"/>
                <a:gd name="T21" fmla="*/ 0 h 85"/>
                <a:gd name="T22" fmla="*/ 159 w 207"/>
                <a:gd name="T23" fmla="*/ 0 h 85"/>
                <a:gd name="T24" fmla="*/ 207 w 207"/>
                <a:gd name="T25" fmla="*/ 48 h 85"/>
                <a:gd name="T26" fmla="*/ 207 w 207"/>
                <a:gd name="T27" fmla="*/ 81 h 85"/>
                <a:gd name="T28" fmla="*/ 203 w 207"/>
                <a:gd name="T29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7" h="85">
                  <a:moveTo>
                    <a:pt x="203" y="85"/>
                  </a:moveTo>
                  <a:cubicBezTo>
                    <a:pt x="200" y="85"/>
                    <a:pt x="198" y="83"/>
                    <a:pt x="198" y="81"/>
                  </a:cubicBezTo>
                  <a:cubicBezTo>
                    <a:pt x="198" y="48"/>
                    <a:pt x="198" y="48"/>
                    <a:pt x="198" y="48"/>
                  </a:cubicBezTo>
                  <a:cubicBezTo>
                    <a:pt x="198" y="26"/>
                    <a:pt x="181" y="8"/>
                    <a:pt x="159" y="8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26" y="8"/>
                    <a:pt x="8" y="26"/>
                    <a:pt x="8" y="48"/>
                  </a:cubicBezTo>
                  <a:cubicBezTo>
                    <a:pt x="8" y="81"/>
                    <a:pt x="8" y="81"/>
                    <a:pt x="8" y="81"/>
                  </a:cubicBezTo>
                  <a:cubicBezTo>
                    <a:pt x="8" y="83"/>
                    <a:pt x="6" y="85"/>
                    <a:pt x="4" y="85"/>
                  </a:cubicBezTo>
                  <a:cubicBezTo>
                    <a:pt x="1" y="85"/>
                    <a:pt x="0" y="83"/>
                    <a:pt x="0" y="81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1"/>
                    <a:pt x="21" y="0"/>
                    <a:pt x="48" y="0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85" y="0"/>
                    <a:pt x="207" y="21"/>
                    <a:pt x="207" y="48"/>
                  </a:cubicBezTo>
                  <a:cubicBezTo>
                    <a:pt x="207" y="81"/>
                    <a:pt x="207" y="81"/>
                    <a:pt x="207" y="81"/>
                  </a:cubicBezTo>
                  <a:cubicBezTo>
                    <a:pt x="207" y="83"/>
                    <a:pt x="205" y="85"/>
                    <a:pt x="203" y="8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9" name="Freeform 135">
              <a:extLst>
                <a:ext uri="{FF2B5EF4-FFF2-40B4-BE49-F238E27FC236}">
                  <a16:creationId xmlns:a16="http://schemas.microsoft.com/office/drawing/2014/main" id="{D1D77954-5412-BE63-3C66-6C731C0DC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87600" y="1146246"/>
              <a:ext cx="232353" cy="195665"/>
            </a:xfrm>
            <a:custGeom>
              <a:avLst/>
              <a:gdLst>
                <a:gd name="T0" fmla="*/ 71 w 92"/>
                <a:gd name="T1" fmla="*/ 4 h 78"/>
                <a:gd name="T2" fmla="*/ 84 w 92"/>
                <a:gd name="T3" fmla="*/ 32 h 78"/>
                <a:gd name="T4" fmla="*/ 46 w 92"/>
                <a:gd name="T5" fmla="*/ 70 h 78"/>
                <a:gd name="T6" fmla="*/ 8 w 92"/>
                <a:gd name="T7" fmla="*/ 32 h 78"/>
                <a:gd name="T8" fmla="*/ 21 w 92"/>
                <a:gd name="T9" fmla="*/ 4 h 78"/>
                <a:gd name="T10" fmla="*/ 13 w 92"/>
                <a:gd name="T11" fmla="*/ 1 h 78"/>
                <a:gd name="T12" fmla="*/ 0 w 92"/>
                <a:gd name="T13" fmla="*/ 32 h 78"/>
                <a:gd name="T14" fmla="*/ 46 w 92"/>
                <a:gd name="T15" fmla="*/ 78 h 78"/>
                <a:gd name="T16" fmla="*/ 92 w 92"/>
                <a:gd name="T17" fmla="*/ 32 h 78"/>
                <a:gd name="T18" fmla="*/ 79 w 92"/>
                <a:gd name="T19" fmla="*/ 0 h 78"/>
                <a:gd name="T20" fmla="*/ 71 w 92"/>
                <a:gd name="T21" fmla="*/ 4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2" h="78">
                  <a:moveTo>
                    <a:pt x="71" y="4"/>
                  </a:moveTo>
                  <a:cubicBezTo>
                    <a:pt x="79" y="11"/>
                    <a:pt x="84" y="21"/>
                    <a:pt x="84" y="32"/>
                  </a:cubicBezTo>
                  <a:cubicBezTo>
                    <a:pt x="84" y="53"/>
                    <a:pt x="67" y="70"/>
                    <a:pt x="46" y="70"/>
                  </a:cubicBezTo>
                  <a:cubicBezTo>
                    <a:pt x="25" y="70"/>
                    <a:pt x="8" y="53"/>
                    <a:pt x="8" y="32"/>
                  </a:cubicBezTo>
                  <a:cubicBezTo>
                    <a:pt x="8" y="21"/>
                    <a:pt x="13" y="11"/>
                    <a:pt x="21" y="4"/>
                  </a:cubicBezTo>
                  <a:cubicBezTo>
                    <a:pt x="18" y="3"/>
                    <a:pt x="15" y="2"/>
                    <a:pt x="13" y="1"/>
                  </a:cubicBezTo>
                  <a:cubicBezTo>
                    <a:pt x="5" y="9"/>
                    <a:pt x="0" y="20"/>
                    <a:pt x="0" y="32"/>
                  </a:cubicBezTo>
                  <a:cubicBezTo>
                    <a:pt x="0" y="58"/>
                    <a:pt x="21" y="78"/>
                    <a:pt x="46" y="78"/>
                  </a:cubicBezTo>
                  <a:cubicBezTo>
                    <a:pt x="72" y="78"/>
                    <a:pt x="92" y="58"/>
                    <a:pt x="92" y="32"/>
                  </a:cubicBezTo>
                  <a:cubicBezTo>
                    <a:pt x="92" y="20"/>
                    <a:pt x="87" y="9"/>
                    <a:pt x="79" y="0"/>
                  </a:cubicBezTo>
                  <a:cubicBezTo>
                    <a:pt x="77" y="2"/>
                    <a:pt x="74" y="3"/>
                    <a:pt x="71" y="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0" name="Freeform 136">
              <a:extLst>
                <a:ext uri="{FF2B5EF4-FFF2-40B4-BE49-F238E27FC236}">
                  <a16:creationId xmlns:a16="http://schemas.microsoft.com/office/drawing/2014/main" id="{CBDE4202-3556-01DB-1F8D-39EEF86C4C00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79447" y="1068796"/>
              <a:ext cx="216048" cy="114138"/>
            </a:xfrm>
            <a:custGeom>
              <a:avLst/>
              <a:gdLst>
                <a:gd name="T0" fmla="*/ 76 w 85"/>
                <a:gd name="T1" fmla="*/ 8 h 45"/>
                <a:gd name="T2" fmla="*/ 76 w 85"/>
                <a:gd name="T3" fmla="*/ 24 h 45"/>
                <a:gd name="T4" fmla="*/ 8 w 85"/>
                <a:gd name="T5" fmla="*/ 24 h 45"/>
                <a:gd name="T6" fmla="*/ 8 w 85"/>
                <a:gd name="T7" fmla="*/ 6 h 45"/>
                <a:gd name="T8" fmla="*/ 19 w 85"/>
                <a:gd name="T9" fmla="*/ 12 h 45"/>
                <a:gd name="T10" fmla="*/ 19 w 85"/>
                <a:gd name="T11" fmla="*/ 10 h 45"/>
                <a:gd name="T12" fmla="*/ 4 w 85"/>
                <a:gd name="T13" fmla="*/ 2 h 45"/>
                <a:gd name="T14" fmla="*/ 0 w 85"/>
                <a:gd name="T15" fmla="*/ 0 h 45"/>
                <a:gd name="T16" fmla="*/ 0 w 85"/>
                <a:gd name="T17" fmla="*/ 26 h 45"/>
                <a:gd name="T18" fmla="*/ 1 w 85"/>
                <a:gd name="T19" fmla="*/ 29 h 45"/>
                <a:gd name="T20" fmla="*/ 42 w 85"/>
                <a:gd name="T21" fmla="*/ 45 h 45"/>
                <a:gd name="T22" fmla="*/ 83 w 85"/>
                <a:gd name="T23" fmla="*/ 29 h 45"/>
                <a:gd name="T24" fmla="*/ 85 w 85"/>
                <a:gd name="T25" fmla="*/ 26 h 45"/>
                <a:gd name="T26" fmla="*/ 85 w 85"/>
                <a:gd name="T27" fmla="*/ 3 h 45"/>
                <a:gd name="T28" fmla="*/ 76 w 85"/>
                <a:gd name="T29" fmla="*/ 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5" h="45">
                  <a:moveTo>
                    <a:pt x="76" y="8"/>
                  </a:moveTo>
                  <a:cubicBezTo>
                    <a:pt x="76" y="24"/>
                    <a:pt x="76" y="24"/>
                    <a:pt x="76" y="24"/>
                  </a:cubicBezTo>
                  <a:cubicBezTo>
                    <a:pt x="57" y="41"/>
                    <a:pt x="28" y="41"/>
                    <a:pt x="8" y="2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11" y="9"/>
                    <a:pt x="15" y="10"/>
                    <a:pt x="19" y="12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4" y="8"/>
                    <a:pt x="8" y="6"/>
                    <a:pt x="4" y="2"/>
                  </a:cubicBezTo>
                  <a:cubicBezTo>
                    <a:pt x="3" y="1"/>
                    <a:pt x="1" y="1"/>
                    <a:pt x="0" y="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0" y="28"/>
                    <a:pt x="1" y="29"/>
                  </a:cubicBezTo>
                  <a:cubicBezTo>
                    <a:pt x="13" y="39"/>
                    <a:pt x="27" y="45"/>
                    <a:pt x="42" y="45"/>
                  </a:cubicBezTo>
                  <a:cubicBezTo>
                    <a:pt x="57" y="45"/>
                    <a:pt x="72" y="39"/>
                    <a:pt x="83" y="29"/>
                  </a:cubicBezTo>
                  <a:cubicBezTo>
                    <a:pt x="84" y="28"/>
                    <a:pt x="85" y="27"/>
                    <a:pt x="85" y="26"/>
                  </a:cubicBezTo>
                  <a:cubicBezTo>
                    <a:pt x="85" y="3"/>
                    <a:pt x="85" y="3"/>
                    <a:pt x="85" y="3"/>
                  </a:cubicBezTo>
                  <a:cubicBezTo>
                    <a:pt x="82" y="5"/>
                    <a:pt x="79" y="6"/>
                    <a:pt x="76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1" name="Freeform 137">
              <a:extLst>
                <a:ext uri="{FF2B5EF4-FFF2-40B4-BE49-F238E27FC236}">
                  <a16:creationId xmlns:a16="http://schemas.microsoft.com/office/drawing/2014/main" id="{ECCB6B67-78CF-951E-59E3-448C289EE1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044669" y="962811"/>
              <a:ext cx="346491" cy="167132"/>
            </a:xfrm>
            <a:custGeom>
              <a:avLst/>
              <a:gdLst>
                <a:gd name="T0" fmla="*/ 69 w 139"/>
                <a:gd name="T1" fmla="*/ 67 h 67"/>
                <a:gd name="T2" fmla="*/ 67 w 139"/>
                <a:gd name="T3" fmla="*/ 67 h 67"/>
                <a:gd name="T4" fmla="*/ 2 w 139"/>
                <a:gd name="T5" fmla="*/ 38 h 67"/>
                <a:gd name="T6" fmla="*/ 0 w 139"/>
                <a:gd name="T7" fmla="*/ 34 h 67"/>
                <a:gd name="T8" fmla="*/ 2 w 139"/>
                <a:gd name="T9" fmla="*/ 30 h 67"/>
                <a:gd name="T10" fmla="*/ 67 w 139"/>
                <a:gd name="T11" fmla="*/ 1 h 67"/>
                <a:gd name="T12" fmla="*/ 71 w 139"/>
                <a:gd name="T13" fmla="*/ 1 h 67"/>
                <a:gd name="T14" fmla="*/ 136 w 139"/>
                <a:gd name="T15" fmla="*/ 30 h 67"/>
                <a:gd name="T16" fmla="*/ 139 w 139"/>
                <a:gd name="T17" fmla="*/ 34 h 67"/>
                <a:gd name="T18" fmla="*/ 136 w 139"/>
                <a:gd name="T19" fmla="*/ 38 h 67"/>
                <a:gd name="T20" fmla="*/ 71 w 139"/>
                <a:gd name="T21" fmla="*/ 67 h 67"/>
                <a:gd name="T22" fmla="*/ 69 w 139"/>
                <a:gd name="T23" fmla="*/ 67 h 67"/>
                <a:gd name="T24" fmla="*/ 14 w 139"/>
                <a:gd name="T25" fmla="*/ 34 h 67"/>
                <a:gd name="T26" fmla="*/ 69 w 139"/>
                <a:gd name="T27" fmla="*/ 59 h 67"/>
                <a:gd name="T28" fmla="*/ 124 w 139"/>
                <a:gd name="T29" fmla="*/ 34 h 67"/>
                <a:gd name="T30" fmla="*/ 69 w 139"/>
                <a:gd name="T31" fmla="*/ 9 h 67"/>
                <a:gd name="T32" fmla="*/ 14 w 139"/>
                <a:gd name="T33" fmla="*/ 34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9" h="67">
                  <a:moveTo>
                    <a:pt x="69" y="67"/>
                  </a:moveTo>
                  <a:cubicBezTo>
                    <a:pt x="69" y="67"/>
                    <a:pt x="68" y="67"/>
                    <a:pt x="67" y="67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1" y="37"/>
                    <a:pt x="0" y="35"/>
                    <a:pt x="0" y="34"/>
                  </a:cubicBezTo>
                  <a:cubicBezTo>
                    <a:pt x="0" y="32"/>
                    <a:pt x="1" y="31"/>
                    <a:pt x="2" y="30"/>
                  </a:cubicBezTo>
                  <a:cubicBezTo>
                    <a:pt x="67" y="1"/>
                    <a:pt x="67" y="1"/>
                    <a:pt x="67" y="1"/>
                  </a:cubicBezTo>
                  <a:cubicBezTo>
                    <a:pt x="69" y="0"/>
                    <a:pt x="70" y="0"/>
                    <a:pt x="71" y="1"/>
                  </a:cubicBezTo>
                  <a:cubicBezTo>
                    <a:pt x="136" y="30"/>
                    <a:pt x="136" y="30"/>
                    <a:pt x="136" y="30"/>
                  </a:cubicBezTo>
                  <a:cubicBezTo>
                    <a:pt x="138" y="31"/>
                    <a:pt x="139" y="32"/>
                    <a:pt x="139" y="34"/>
                  </a:cubicBezTo>
                  <a:cubicBezTo>
                    <a:pt x="139" y="35"/>
                    <a:pt x="138" y="37"/>
                    <a:pt x="136" y="38"/>
                  </a:cubicBezTo>
                  <a:cubicBezTo>
                    <a:pt x="71" y="67"/>
                    <a:pt x="71" y="67"/>
                    <a:pt x="71" y="67"/>
                  </a:cubicBezTo>
                  <a:cubicBezTo>
                    <a:pt x="70" y="67"/>
                    <a:pt x="70" y="67"/>
                    <a:pt x="69" y="67"/>
                  </a:cubicBezTo>
                  <a:close/>
                  <a:moveTo>
                    <a:pt x="14" y="34"/>
                  </a:moveTo>
                  <a:cubicBezTo>
                    <a:pt x="69" y="59"/>
                    <a:pt x="69" y="59"/>
                    <a:pt x="69" y="59"/>
                  </a:cubicBezTo>
                  <a:cubicBezTo>
                    <a:pt x="124" y="34"/>
                    <a:pt x="124" y="34"/>
                    <a:pt x="124" y="34"/>
                  </a:cubicBezTo>
                  <a:cubicBezTo>
                    <a:pt x="69" y="9"/>
                    <a:pt x="69" y="9"/>
                    <a:pt x="69" y="9"/>
                  </a:cubicBezTo>
                  <a:lnTo>
                    <a:pt x="14" y="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2" name="Freeform 138">
              <a:extLst>
                <a:ext uri="{FF2B5EF4-FFF2-40B4-BE49-F238E27FC236}">
                  <a16:creationId xmlns:a16="http://schemas.microsoft.com/office/drawing/2014/main" id="{243E6FE0-521D-D972-D11C-4A7846B4F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32441" y="1040261"/>
              <a:ext cx="20383" cy="93757"/>
            </a:xfrm>
            <a:custGeom>
              <a:avLst/>
              <a:gdLst>
                <a:gd name="T0" fmla="*/ 4 w 8"/>
                <a:gd name="T1" fmla="*/ 37 h 37"/>
                <a:gd name="T2" fmla="*/ 0 w 8"/>
                <a:gd name="T3" fmla="*/ 33 h 37"/>
                <a:gd name="T4" fmla="*/ 0 w 8"/>
                <a:gd name="T5" fmla="*/ 4 h 37"/>
                <a:gd name="T6" fmla="*/ 4 w 8"/>
                <a:gd name="T7" fmla="*/ 0 h 37"/>
                <a:gd name="T8" fmla="*/ 8 w 8"/>
                <a:gd name="T9" fmla="*/ 4 h 37"/>
                <a:gd name="T10" fmla="*/ 8 w 8"/>
                <a:gd name="T11" fmla="*/ 33 h 37"/>
                <a:gd name="T12" fmla="*/ 4 w 8"/>
                <a:gd name="T13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37">
                  <a:moveTo>
                    <a:pt x="4" y="37"/>
                  </a:moveTo>
                  <a:cubicBezTo>
                    <a:pt x="1" y="37"/>
                    <a:pt x="0" y="35"/>
                    <a:pt x="0" y="3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35"/>
                    <a:pt x="6" y="37"/>
                    <a:pt x="4" y="3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3" name="Freeform 139">
              <a:extLst>
                <a:ext uri="{FF2B5EF4-FFF2-40B4-BE49-F238E27FC236}">
                  <a16:creationId xmlns:a16="http://schemas.microsoft.com/office/drawing/2014/main" id="{E134347D-3481-EA04-BA22-D757BE07E9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044669" y="1113635"/>
              <a:ext cx="44841" cy="48916"/>
            </a:xfrm>
            <a:custGeom>
              <a:avLst/>
              <a:gdLst>
                <a:gd name="T0" fmla="*/ 10 w 19"/>
                <a:gd name="T1" fmla="*/ 19 h 19"/>
                <a:gd name="T2" fmla="*/ 0 w 19"/>
                <a:gd name="T3" fmla="*/ 10 h 19"/>
                <a:gd name="T4" fmla="*/ 10 w 19"/>
                <a:gd name="T5" fmla="*/ 0 h 19"/>
                <a:gd name="T6" fmla="*/ 19 w 19"/>
                <a:gd name="T7" fmla="*/ 10 h 19"/>
                <a:gd name="T8" fmla="*/ 10 w 19"/>
                <a:gd name="T9" fmla="*/ 19 h 19"/>
                <a:gd name="T10" fmla="*/ 10 w 19"/>
                <a:gd name="T11" fmla="*/ 8 h 19"/>
                <a:gd name="T12" fmla="*/ 8 w 19"/>
                <a:gd name="T13" fmla="*/ 10 h 19"/>
                <a:gd name="T14" fmla="*/ 10 w 19"/>
                <a:gd name="T15" fmla="*/ 11 h 19"/>
                <a:gd name="T16" fmla="*/ 11 w 19"/>
                <a:gd name="T17" fmla="*/ 10 h 19"/>
                <a:gd name="T18" fmla="*/ 10 w 19"/>
                <a:gd name="T19" fmla="*/ 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19">
                  <a:moveTo>
                    <a:pt x="10" y="19"/>
                  </a:moveTo>
                  <a:cubicBezTo>
                    <a:pt x="4" y="19"/>
                    <a:pt x="0" y="15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5" y="0"/>
                    <a:pt x="19" y="4"/>
                    <a:pt x="19" y="10"/>
                  </a:cubicBezTo>
                  <a:cubicBezTo>
                    <a:pt x="19" y="15"/>
                    <a:pt x="15" y="19"/>
                    <a:pt x="10" y="19"/>
                  </a:cubicBezTo>
                  <a:close/>
                  <a:moveTo>
                    <a:pt x="10" y="8"/>
                  </a:moveTo>
                  <a:cubicBezTo>
                    <a:pt x="9" y="8"/>
                    <a:pt x="8" y="9"/>
                    <a:pt x="8" y="10"/>
                  </a:cubicBezTo>
                  <a:cubicBezTo>
                    <a:pt x="8" y="10"/>
                    <a:pt x="9" y="11"/>
                    <a:pt x="10" y="11"/>
                  </a:cubicBezTo>
                  <a:cubicBezTo>
                    <a:pt x="10" y="11"/>
                    <a:pt x="11" y="10"/>
                    <a:pt x="11" y="10"/>
                  </a:cubicBezTo>
                  <a:cubicBezTo>
                    <a:pt x="11" y="9"/>
                    <a:pt x="10" y="8"/>
                    <a:pt x="1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6" name="Shape16_20200717_154352">
            <a:extLst>
              <a:ext uri="{FF2B5EF4-FFF2-40B4-BE49-F238E27FC236}">
                <a16:creationId xmlns:a16="http://schemas.microsoft.com/office/drawing/2014/main" id="{FF5F0967-5E1E-506D-029E-31C50963EDD2}"/>
              </a:ext>
            </a:extLst>
          </p:cNvPr>
          <p:cNvGrpSpPr>
            <a:grpSpLocks noChangeAspect="1"/>
          </p:cNvGrpSpPr>
          <p:nvPr/>
        </p:nvGrpSpPr>
        <p:grpSpPr>
          <a:xfrm>
            <a:off x="4509304" y="3798626"/>
            <a:ext cx="684827" cy="684826"/>
            <a:chOff x="-4874758" y="5247051"/>
            <a:chExt cx="684827" cy="684826"/>
          </a:xfrm>
          <a:solidFill>
            <a:schemeClr val="accent1"/>
          </a:solidFill>
        </p:grpSpPr>
        <p:sp>
          <p:nvSpPr>
            <p:cNvPr id="165" name="Freeform 140">
              <a:extLst>
                <a:ext uri="{FF2B5EF4-FFF2-40B4-BE49-F238E27FC236}">
                  <a16:creationId xmlns:a16="http://schemas.microsoft.com/office/drawing/2014/main" id="{0E0524BD-93D6-79F9-1587-A205EA3161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874758" y="5247051"/>
              <a:ext cx="684827" cy="684826"/>
            </a:xfrm>
            <a:custGeom>
              <a:avLst/>
              <a:gdLst>
                <a:gd name="T0" fmla="*/ 106 w 272"/>
                <a:gd name="T1" fmla="*/ 252 h 272"/>
                <a:gd name="T2" fmla="*/ 104 w 272"/>
                <a:gd name="T3" fmla="*/ 252 h 272"/>
                <a:gd name="T4" fmla="*/ 52 w 272"/>
                <a:gd name="T5" fmla="*/ 222 h 272"/>
                <a:gd name="T6" fmla="*/ 50 w 272"/>
                <a:gd name="T7" fmla="*/ 220 h 272"/>
                <a:gd name="T8" fmla="*/ 21 w 272"/>
                <a:gd name="T9" fmla="*/ 168 h 272"/>
                <a:gd name="T10" fmla="*/ 20 w 272"/>
                <a:gd name="T11" fmla="*/ 166 h 272"/>
                <a:gd name="T12" fmla="*/ 20 w 272"/>
                <a:gd name="T13" fmla="*/ 106 h 272"/>
                <a:gd name="T14" fmla="*/ 21 w 272"/>
                <a:gd name="T15" fmla="*/ 103 h 272"/>
                <a:gd name="T16" fmla="*/ 50 w 272"/>
                <a:gd name="T17" fmla="*/ 52 h 272"/>
                <a:gd name="T18" fmla="*/ 52 w 272"/>
                <a:gd name="T19" fmla="*/ 50 h 272"/>
                <a:gd name="T20" fmla="*/ 104 w 272"/>
                <a:gd name="T21" fmla="*/ 20 h 272"/>
                <a:gd name="T22" fmla="*/ 106 w 272"/>
                <a:gd name="T23" fmla="*/ 19 h 272"/>
                <a:gd name="T24" fmla="*/ 166 w 272"/>
                <a:gd name="T25" fmla="*/ 19 h 272"/>
                <a:gd name="T26" fmla="*/ 169 w 272"/>
                <a:gd name="T27" fmla="*/ 20 h 272"/>
                <a:gd name="T28" fmla="*/ 220 w 272"/>
                <a:gd name="T29" fmla="*/ 50 h 272"/>
                <a:gd name="T30" fmla="*/ 222 w 272"/>
                <a:gd name="T31" fmla="*/ 52 h 272"/>
                <a:gd name="T32" fmla="*/ 252 w 272"/>
                <a:gd name="T33" fmla="*/ 103 h 272"/>
                <a:gd name="T34" fmla="*/ 253 w 272"/>
                <a:gd name="T35" fmla="*/ 106 h 272"/>
                <a:gd name="T36" fmla="*/ 253 w 272"/>
                <a:gd name="T37" fmla="*/ 166 h 272"/>
                <a:gd name="T38" fmla="*/ 252 w 272"/>
                <a:gd name="T39" fmla="*/ 168 h 272"/>
                <a:gd name="T40" fmla="*/ 222 w 272"/>
                <a:gd name="T41" fmla="*/ 220 h 272"/>
                <a:gd name="T42" fmla="*/ 220 w 272"/>
                <a:gd name="T43" fmla="*/ 222 h 272"/>
                <a:gd name="T44" fmla="*/ 169 w 272"/>
                <a:gd name="T45" fmla="*/ 252 h 272"/>
                <a:gd name="T46" fmla="*/ 166 w 272"/>
                <a:gd name="T47" fmla="*/ 252 h 272"/>
                <a:gd name="T48" fmla="*/ 105 w 272"/>
                <a:gd name="T49" fmla="*/ 243 h 272"/>
                <a:gd name="T50" fmla="*/ 114 w 272"/>
                <a:gd name="T51" fmla="*/ 249 h 272"/>
                <a:gd name="T52" fmla="*/ 159 w 272"/>
                <a:gd name="T53" fmla="*/ 249 h 272"/>
                <a:gd name="T54" fmla="*/ 173 w 272"/>
                <a:gd name="T55" fmla="*/ 245 h 272"/>
                <a:gd name="T56" fmla="*/ 212 w 272"/>
                <a:gd name="T57" fmla="*/ 223 h 272"/>
                <a:gd name="T58" fmla="*/ 223 w 272"/>
                <a:gd name="T59" fmla="*/ 212 h 272"/>
                <a:gd name="T60" fmla="*/ 245 w 272"/>
                <a:gd name="T61" fmla="*/ 173 h 272"/>
                <a:gd name="T62" fmla="*/ 249 w 272"/>
                <a:gd name="T63" fmla="*/ 158 h 272"/>
                <a:gd name="T64" fmla="*/ 249 w 272"/>
                <a:gd name="T65" fmla="*/ 113 h 272"/>
                <a:gd name="T66" fmla="*/ 245 w 272"/>
                <a:gd name="T67" fmla="*/ 99 h 272"/>
                <a:gd name="T68" fmla="*/ 223 w 272"/>
                <a:gd name="T69" fmla="*/ 60 h 272"/>
                <a:gd name="T70" fmla="*/ 212 w 272"/>
                <a:gd name="T71" fmla="*/ 49 h 272"/>
                <a:gd name="T72" fmla="*/ 173 w 272"/>
                <a:gd name="T73" fmla="*/ 27 h 272"/>
                <a:gd name="T74" fmla="*/ 159 w 272"/>
                <a:gd name="T75" fmla="*/ 23 h 272"/>
                <a:gd name="T76" fmla="*/ 114 w 272"/>
                <a:gd name="T77" fmla="*/ 23 h 272"/>
                <a:gd name="T78" fmla="*/ 99 w 272"/>
                <a:gd name="T79" fmla="*/ 27 h 272"/>
                <a:gd name="T80" fmla="*/ 60 w 272"/>
                <a:gd name="T81" fmla="*/ 49 h 272"/>
                <a:gd name="T82" fmla="*/ 49 w 272"/>
                <a:gd name="T83" fmla="*/ 60 h 272"/>
                <a:gd name="T84" fmla="*/ 27 w 272"/>
                <a:gd name="T85" fmla="*/ 99 h 272"/>
                <a:gd name="T86" fmla="*/ 23 w 272"/>
                <a:gd name="T87" fmla="*/ 113 h 272"/>
                <a:gd name="T88" fmla="*/ 23 w 272"/>
                <a:gd name="T89" fmla="*/ 158 h 272"/>
                <a:gd name="T90" fmla="*/ 27 w 272"/>
                <a:gd name="T91" fmla="*/ 173 h 272"/>
                <a:gd name="T92" fmla="*/ 49 w 272"/>
                <a:gd name="T93" fmla="*/ 212 h 272"/>
                <a:gd name="T94" fmla="*/ 60 w 272"/>
                <a:gd name="T95" fmla="*/ 223 h 272"/>
                <a:gd name="T96" fmla="*/ 99 w 272"/>
                <a:gd name="T97" fmla="*/ 245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72" h="272">
                  <a:moveTo>
                    <a:pt x="136" y="272"/>
                  </a:moveTo>
                  <a:cubicBezTo>
                    <a:pt x="123" y="272"/>
                    <a:pt x="112" y="264"/>
                    <a:pt x="106" y="252"/>
                  </a:cubicBezTo>
                  <a:cubicBezTo>
                    <a:pt x="106" y="252"/>
                    <a:pt x="106" y="251"/>
                    <a:pt x="105" y="251"/>
                  </a:cubicBezTo>
                  <a:cubicBezTo>
                    <a:pt x="105" y="251"/>
                    <a:pt x="105" y="251"/>
                    <a:pt x="104" y="252"/>
                  </a:cubicBezTo>
                  <a:cubicBezTo>
                    <a:pt x="94" y="259"/>
                    <a:pt x="80" y="260"/>
                    <a:pt x="68" y="254"/>
                  </a:cubicBezTo>
                  <a:cubicBezTo>
                    <a:pt x="57" y="247"/>
                    <a:pt x="51" y="235"/>
                    <a:pt x="52" y="222"/>
                  </a:cubicBezTo>
                  <a:cubicBezTo>
                    <a:pt x="52" y="221"/>
                    <a:pt x="52" y="221"/>
                    <a:pt x="52" y="220"/>
                  </a:cubicBezTo>
                  <a:cubicBezTo>
                    <a:pt x="51" y="220"/>
                    <a:pt x="51" y="220"/>
                    <a:pt x="50" y="220"/>
                  </a:cubicBezTo>
                  <a:cubicBezTo>
                    <a:pt x="37" y="221"/>
                    <a:pt x="25" y="215"/>
                    <a:pt x="19" y="204"/>
                  </a:cubicBezTo>
                  <a:cubicBezTo>
                    <a:pt x="12" y="193"/>
                    <a:pt x="13" y="179"/>
                    <a:pt x="21" y="168"/>
                  </a:cubicBezTo>
                  <a:cubicBezTo>
                    <a:pt x="21" y="168"/>
                    <a:pt x="21" y="167"/>
                    <a:pt x="21" y="167"/>
                  </a:cubicBezTo>
                  <a:cubicBezTo>
                    <a:pt x="21" y="166"/>
                    <a:pt x="20" y="166"/>
                    <a:pt x="20" y="166"/>
                  </a:cubicBezTo>
                  <a:cubicBezTo>
                    <a:pt x="8" y="161"/>
                    <a:pt x="0" y="149"/>
                    <a:pt x="0" y="136"/>
                  </a:cubicBezTo>
                  <a:cubicBezTo>
                    <a:pt x="0" y="123"/>
                    <a:pt x="8" y="111"/>
                    <a:pt x="20" y="106"/>
                  </a:cubicBezTo>
                  <a:cubicBezTo>
                    <a:pt x="20" y="106"/>
                    <a:pt x="21" y="105"/>
                    <a:pt x="21" y="105"/>
                  </a:cubicBezTo>
                  <a:cubicBezTo>
                    <a:pt x="21" y="105"/>
                    <a:pt x="21" y="104"/>
                    <a:pt x="21" y="103"/>
                  </a:cubicBezTo>
                  <a:cubicBezTo>
                    <a:pt x="13" y="93"/>
                    <a:pt x="12" y="79"/>
                    <a:pt x="19" y="68"/>
                  </a:cubicBezTo>
                  <a:cubicBezTo>
                    <a:pt x="25" y="57"/>
                    <a:pt x="37" y="50"/>
                    <a:pt x="50" y="52"/>
                  </a:cubicBezTo>
                  <a:cubicBezTo>
                    <a:pt x="51" y="52"/>
                    <a:pt x="51" y="51"/>
                    <a:pt x="52" y="51"/>
                  </a:cubicBezTo>
                  <a:cubicBezTo>
                    <a:pt x="52" y="51"/>
                    <a:pt x="52" y="50"/>
                    <a:pt x="52" y="50"/>
                  </a:cubicBezTo>
                  <a:cubicBezTo>
                    <a:pt x="51" y="37"/>
                    <a:pt x="57" y="24"/>
                    <a:pt x="68" y="18"/>
                  </a:cubicBezTo>
                  <a:cubicBezTo>
                    <a:pt x="80" y="12"/>
                    <a:pt x="94" y="12"/>
                    <a:pt x="104" y="20"/>
                  </a:cubicBezTo>
                  <a:cubicBezTo>
                    <a:pt x="105" y="20"/>
                    <a:pt x="105" y="20"/>
                    <a:pt x="105" y="20"/>
                  </a:cubicBezTo>
                  <a:cubicBezTo>
                    <a:pt x="106" y="20"/>
                    <a:pt x="106" y="20"/>
                    <a:pt x="106" y="19"/>
                  </a:cubicBezTo>
                  <a:cubicBezTo>
                    <a:pt x="112" y="7"/>
                    <a:pt x="123" y="0"/>
                    <a:pt x="136" y="0"/>
                  </a:cubicBezTo>
                  <a:cubicBezTo>
                    <a:pt x="149" y="0"/>
                    <a:pt x="161" y="7"/>
                    <a:pt x="166" y="19"/>
                  </a:cubicBezTo>
                  <a:cubicBezTo>
                    <a:pt x="167" y="20"/>
                    <a:pt x="167" y="20"/>
                    <a:pt x="167" y="20"/>
                  </a:cubicBezTo>
                  <a:cubicBezTo>
                    <a:pt x="168" y="20"/>
                    <a:pt x="168" y="20"/>
                    <a:pt x="169" y="20"/>
                  </a:cubicBezTo>
                  <a:cubicBezTo>
                    <a:pt x="179" y="12"/>
                    <a:pt x="193" y="12"/>
                    <a:pt x="204" y="18"/>
                  </a:cubicBezTo>
                  <a:cubicBezTo>
                    <a:pt x="215" y="24"/>
                    <a:pt x="222" y="37"/>
                    <a:pt x="220" y="50"/>
                  </a:cubicBezTo>
                  <a:cubicBezTo>
                    <a:pt x="220" y="50"/>
                    <a:pt x="221" y="51"/>
                    <a:pt x="221" y="51"/>
                  </a:cubicBezTo>
                  <a:cubicBezTo>
                    <a:pt x="221" y="51"/>
                    <a:pt x="222" y="52"/>
                    <a:pt x="222" y="52"/>
                  </a:cubicBezTo>
                  <a:cubicBezTo>
                    <a:pt x="235" y="50"/>
                    <a:pt x="248" y="57"/>
                    <a:pt x="254" y="68"/>
                  </a:cubicBezTo>
                  <a:cubicBezTo>
                    <a:pt x="261" y="79"/>
                    <a:pt x="260" y="93"/>
                    <a:pt x="252" y="103"/>
                  </a:cubicBezTo>
                  <a:cubicBezTo>
                    <a:pt x="252" y="104"/>
                    <a:pt x="252" y="105"/>
                    <a:pt x="252" y="105"/>
                  </a:cubicBezTo>
                  <a:cubicBezTo>
                    <a:pt x="252" y="105"/>
                    <a:pt x="252" y="106"/>
                    <a:pt x="253" y="106"/>
                  </a:cubicBezTo>
                  <a:cubicBezTo>
                    <a:pt x="265" y="111"/>
                    <a:pt x="272" y="123"/>
                    <a:pt x="272" y="136"/>
                  </a:cubicBezTo>
                  <a:cubicBezTo>
                    <a:pt x="272" y="149"/>
                    <a:pt x="265" y="161"/>
                    <a:pt x="253" y="166"/>
                  </a:cubicBezTo>
                  <a:cubicBezTo>
                    <a:pt x="252" y="166"/>
                    <a:pt x="252" y="166"/>
                    <a:pt x="252" y="167"/>
                  </a:cubicBezTo>
                  <a:cubicBezTo>
                    <a:pt x="252" y="167"/>
                    <a:pt x="252" y="168"/>
                    <a:pt x="252" y="168"/>
                  </a:cubicBezTo>
                  <a:cubicBezTo>
                    <a:pt x="260" y="179"/>
                    <a:pt x="261" y="193"/>
                    <a:pt x="254" y="204"/>
                  </a:cubicBezTo>
                  <a:cubicBezTo>
                    <a:pt x="248" y="215"/>
                    <a:pt x="235" y="221"/>
                    <a:pt x="222" y="220"/>
                  </a:cubicBezTo>
                  <a:cubicBezTo>
                    <a:pt x="222" y="220"/>
                    <a:pt x="221" y="220"/>
                    <a:pt x="221" y="220"/>
                  </a:cubicBezTo>
                  <a:cubicBezTo>
                    <a:pt x="221" y="221"/>
                    <a:pt x="220" y="221"/>
                    <a:pt x="220" y="222"/>
                  </a:cubicBezTo>
                  <a:cubicBezTo>
                    <a:pt x="222" y="235"/>
                    <a:pt x="215" y="247"/>
                    <a:pt x="204" y="254"/>
                  </a:cubicBezTo>
                  <a:cubicBezTo>
                    <a:pt x="193" y="260"/>
                    <a:pt x="179" y="259"/>
                    <a:pt x="169" y="252"/>
                  </a:cubicBezTo>
                  <a:cubicBezTo>
                    <a:pt x="168" y="251"/>
                    <a:pt x="168" y="251"/>
                    <a:pt x="167" y="251"/>
                  </a:cubicBezTo>
                  <a:cubicBezTo>
                    <a:pt x="167" y="251"/>
                    <a:pt x="167" y="252"/>
                    <a:pt x="166" y="252"/>
                  </a:cubicBezTo>
                  <a:cubicBezTo>
                    <a:pt x="161" y="264"/>
                    <a:pt x="149" y="272"/>
                    <a:pt x="136" y="272"/>
                  </a:cubicBezTo>
                  <a:close/>
                  <a:moveTo>
                    <a:pt x="105" y="243"/>
                  </a:moveTo>
                  <a:cubicBezTo>
                    <a:pt x="106" y="243"/>
                    <a:pt x="107" y="243"/>
                    <a:pt x="107" y="243"/>
                  </a:cubicBezTo>
                  <a:cubicBezTo>
                    <a:pt x="110" y="244"/>
                    <a:pt x="113" y="246"/>
                    <a:pt x="114" y="249"/>
                  </a:cubicBezTo>
                  <a:cubicBezTo>
                    <a:pt x="118" y="258"/>
                    <a:pt x="127" y="264"/>
                    <a:pt x="136" y="264"/>
                  </a:cubicBezTo>
                  <a:cubicBezTo>
                    <a:pt x="146" y="264"/>
                    <a:pt x="155" y="258"/>
                    <a:pt x="159" y="249"/>
                  </a:cubicBezTo>
                  <a:cubicBezTo>
                    <a:pt x="160" y="246"/>
                    <a:pt x="162" y="244"/>
                    <a:pt x="165" y="243"/>
                  </a:cubicBezTo>
                  <a:cubicBezTo>
                    <a:pt x="168" y="243"/>
                    <a:pt x="171" y="243"/>
                    <a:pt x="173" y="245"/>
                  </a:cubicBezTo>
                  <a:cubicBezTo>
                    <a:pt x="181" y="251"/>
                    <a:pt x="192" y="251"/>
                    <a:pt x="200" y="246"/>
                  </a:cubicBezTo>
                  <a:cubicBezTo>
                    <a:pt x="209" y="242"/>
                    <a:pt x="213" y="232"/>
                    <a:pt x="212" y="223"/>
                  </a:cubicBezTo>
                  <a:cubicBezTo>
                    <a:pt x="212" y="220"/>
                    <a:pt x="213" y="217"/>
                    <a:pt x="215" y="215"/>
                  </a:cubicBezTo>
                  <a:cubicBezTo>
                    <a:pt x="217" y="212"/>
                    <a:pt x="220" y="211"/>
                    <a:pt x="223" y="212"/>
                  </a:cubicBezTo>
                  <a:cubicBezTo>
                    <a:pt x="233" y="213"/>
                    <a:pt x="242" y="208"/>
                    <a:pt x="247" y="200"/>
                  </a:cubicBezTo>
                  <a:cubicBezTo>
                    <a:pt x="252" y="191"/>
                    <a:pt x="251" y="181"/>
                    <a:pt x="245" y="173"/>
                  </a:cubicBezTo>
                  <a:cubicBezTo>
                    <a:pt x="244" y="171"/>
                    <a:pt x="243" y="168"/>
                    <a:pt x="244" y="165"/>
                  </a:cubicBezTo>
                  <a:cubicBezTo>
                    <a:pt x="245" y="162"/>
                    <a:pt x="247" y="159"/>
                    <a:pt x="249" y="158"/>
                  </a:cubicBezTo>
                  <a:cubicBezTo>
                    <a:pt x="258" y="154"/>
                    <a:pt x="264" y="145"/>
                    <a:pt x="264" y="136"/>
                  </a:cubicBezTo>
                  <a:cubicBezTo>
                    <a:pt x="264" y="126"/>
                    <a:pt x="258" y="117"/>
                    <a:pt x="249" y="113"/>
                  </a:cubicBezTo>
                  <a:cubicBezTo>
                    <a:pt x="247" y="112"/>
                    <a:pt x="245" y="110"/>
                    <a:pt x="244" y="107"/>
                  </a:cubicBezTo>
                  <a:cubicBezTo>
                    <a:pt x="243" y="104"/>
                    <a:pt x="244" y="101"/>
                    <a:pt x="245" y="99"/>
                  </a:cubicBezTo>
                  <a:cubicBezTo>
                    <a:pt x="251" y="91"/>
                    <a:pt x="252" y="80"/>
                    <a:pt x="247" y="72"/>
                  </a:cubicBezTo>
                  <a:cubicBezTo>
                    <a:pt x="242" y="64"/>
                    <a:pt x="233" y="59"/>
                    <a:pt x="223" y="60"/>
                  </a:cubicBezTo>
                  <a:cubicBezTo>
                    <a:pt x="220" y="60"/>
                    <a:pt x="217" y="59"/>
                    <a:pt x="215" y="57"/>
                  </a:cubicBezTo>
                  <a:cubicBezTo>
                    <a:pt x="213" y="55"/>
                    <a:pt x="212" y="52"/>
                    <a:pt x="212" y="49"/>
                  </a:cubicBezTo>
                  <a:cubicBezTo>
                    <a:pt x="213" y="39"/>
                    <a:pt x="209" y="30"/>
                    <a:pt x="200" y="25"/>
                  </a:cubicBezTo>
                  <a:cubicBezTo>
                    <a:pt x="192" y="20"/>
                    <a:pt x="181" y="21"/>
                    <a:pt x="173" y="27"/>
                  </a:cubicBezTo>
                  <a:cubicBezTo>
                    <a:pt x="171" y="28"/>
                    <a:pt x="168" y="29"/>
                    <a:pt x="165" y="28"/>
                  </a:cubicBezTo>
                  <a:cubicBezTo>
                    <a:pt x="162" y="27"/>
                    <a:pt x="160" y="25"/>
                    <a:pt x="159" y="23"/>
                  </a:cubicBezTo>
                  <a:cubicBezTo>
                    <a:pt x="155" y="14"/>
                    <a:pt x="146" y="8"/>
                    <a:pt x="136" y="8"/>
                  </a:cubicBezTo>
                  <a:cubicBezTo>
                    <a:pt x="127" y="8"/>
                    <a:pt x="118" y="14"/>
                    <a:pt x="114" y="23"/>
                  </a:cubicBezTo>
                  <a:cubicBezTo>
                    <a:pt x="113" y="25"/>
                    <a:pt x="110" y="27"/>
                    <a:pt x="107" y="28"/>
                  </a:cubicBezTo>
                  <a:cubicBezTo>
                    <a:pt x="105" y="29"/>
                    <a:pt x="102" y="28"/>
                    <a:pt x="99" y="27"/>
                  </a:cubicBezTo>
                  <a:cubicBezTo>
                    <a:pt x="91" y="21"/>
                    <a:pt x="81" y="20"/>
                    <a:pt x="72" y="25"/>
                  </a:cubicBezTo>
                  <a:cubicBezTo>
                    <a:pt x="64" y="30"/>
                    <a:pt x="59" y="39"/>
                    <a:pt x="60" y="49"/>
                  </a:cubicBezTo>
                  <a:cubicBezTo>
                    <a:pt x="61" y="52"/>
                    <a:pt x="60" y="55"/>
                    <a:pt x="58" y="57"/>
                  </a:cubicBezTo>
                  <a:cubicBezTo>
                    <a:pt x="55" y="59"/>
                    <a:pt x="52" y="60"/>
                    <a:pt x="49" y="60"/>
                  </a:cubicBezTo>
                  <a:cubicBezTo>
                    <a:pt x="40" y="59"/>
                    <a:pt x="30" y="64"/>
                    <a:pt x="26" y="72"/>
                  </a:cubicBezTo>
                  <a:cubicBezTo>
                    <a:pt x="21" y="80"/>
                    <a:pt x="21" y="91"/>
                    <a:pt x="27" y="99"/>
                  </a:cubicBezTo>
                  <a:cubicBezTo>
                    <a:pt x="29" y="101"/>
                    <a:pt x="29" y="104"/>
                    <a:pt x="29" y="107"/>
                  </a:cubicBezTo>
                  <a:cubicBezTo>
                    <a:pt x="28" y="110"/>
                    <a:pt x="26" y="112"/>
                    <a:pt x="23" y="113"/>
                  </a:cubicBezTo>
                  <a:cubicBezTo>
                    <a:pt x="14" y="117"/>
                    <a:pt x="9" y="126"/>
                    <a:pt x="9" y="136"/>
                  </a:cubicBezTo>
                  <a:cubicBezTo>
                    <a:pt x="9" y="145"/>
                    <a:pt x="14" y="154"/>
                    <a:pt x="23" y="158"/>
                  </a:cubicBezTo>
                  <a:cubicBezTo>
                    <a:pt x="26" y="159"/>
                    <a:pt x="28" y="162"/>
                    <a:pt x="29" y="165"/>
                  </a:cubicBezTo>
                  <a:cubicBezTo>
                    <a:pt x="29" y="168"/>
                    <a:pt x="29" y="171"/>
                    <a:pt x="27" y="173"/>
                  </a:cubicBezTo>
                  <a:cubicBezTo>
                    <a:pt x="21" y="181"/>
                    <a:pt x="21" y="191"/>
                    <a:pt x="26" y="200"/>
                  </a:cubicBezTo>
                  <a:cubicBezTo>
                    <a:pt x="30" y="208"/>
                    <a:pt x="40" y="213"/>
                    <a:pt x="49" y="212"/>
                  </a:cubicBezTo>
                  <a:cubicBezTo>
                    <a:pt x="52" y="211"/>
                    <a:pt x="55" y="212"/>
                    <a:pt x="58" y="215"/>
                  </a:cubicBezTo>
                  <a:cubicBezTo>
                    <a:pt x="60" y="217"/>
                    <a:pt x="61" y="220"/>
                    <a:pt x="60" y="223"/>
                  </a:cubicBezTo>
                  <a:cubicBezTo>
                    <a:pt x="59" y="232"/>
                    <a:pt x="64" y="242"/>
                    <a:pt x="72" y="246"/>
                  </a:cubicBezTo>
                  <a:cubicBezTo>
                    <a:pt x="81" y="251"/>
                    <a:pt x="91" y="251"/>
                    <a:pt x="99" y="245"/>
                  </a:cubicBezTo>
                  <a:cubicBezTo>
                    <a:pt x="101" y="244"/>
                    <a:pt x="103" y="243"/>
                    <a:pt x="105" y="24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6" name="Freeform 141">
              <a:extLst>
                <a:ext uri="{FF2B5EF4-FFF2-40B4-BE49-F238E27FC236}">
                  <a16:creationId xmlns:a16="http://schemas.microsoft.com/office/drawing/2014/main" id="{7232D6A3-95F3-471A-8816-36C3EC05D5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772848" y="5348961"/>
              <a:ext cx="476934" cy="481009"/>
            </a:xfrm>
            <a:custGeom>
              <a:avLst/>
              <a:gdLst>
                <a:gd name="T0" fmla="*/ 95 w 190"/>
                <a:gd name="T1" fmla="*/ 190 h 190"/>
                <a:gd name="T2" fmla="*/ 0 w 190"/>
                <a:gd name="T3" fmla="*/ 95 h 190"/>
                <a:gd name="T4" fmla="*/ 95 w 190"/>
                <a:gd name="T5" fmla="*/ 0 h 190"/>
                <a:gd name="T6" fmla="*/ 190 w 190"/>
                <a:gd name="T7" fmla="*/ 95 h 190"/>
                <a:gd name="T8" fmla="*/ 95 w 190"/>
                <a:gd name="T9" fmla="*/ 190 h 190"/>
                <a:gd name="T10" fmla="*/ 95 w 190"/>
                <a:gd name="T11" fmla="*/ 8 h 190"/>
                <a:gd name="T12" fmla="*/ 9 w 190"/>
                <a:gd name="T13" fmla="*/ 95 h 190"/>
                <a:gd name="T14" fmla="*/ 95 w 190"/>
                <a:gd name="T15" fmla="*/ 182 h 190"/>
                <a:gd name="T16" fmla="*/ 182 w 190"/>
                <a:gd name="T17" fmla="*/ 95 h 190"/>
                <a:gd name="T18" fmla="*/ 95 w 190"/>
                <a:gd name="T19" fmla="*/ 8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0" h="190">
                  <a:moveTo>
                    <a:pt x="95" y="190"/>
                  </a:moveTo>
                  <a:cubicBezTo>
                    <a:pt x="43" y="190"/>
                    <a:pt x="0" y="147"/>
                    <a:pt x="0" y="95"/>
                  </a:cubicBezTo>
                  <a:cubicBezTo>
                    <a:pt x="0" y="42"/>
                    <a:pt x="43" y="0"/>
                    <a:pt x="95" y="0"/>
                  </a:cubicBezTo>
                  <a:cubicBezTo>
                    <a:pt x="148" y="0"/>
                    <a:pt x="190" y="42"/>
                    <a:pt x="190" y="95"/>
                  </a:cubicBezTo>
                  <a:cubicBezTo>
                    <a:pt x="190" y="147"/>
                    <a:pt x="148" y="190"/>
                    <a:pt x="95" y="190"/>
                  </a:cubicBezTo>
                  <a:close/>
                  <a:moveTo>
                    <a:pt x="95" y="8"/>
                  </a:moveTo>
                  <a:cubicBezTo>
                    <a:pt x="47" y="8"/>
                    <a:pt x="9" y="47"/>
                    <a:pt x="9" y="95"/>
                  </a:cubicBezTo>
                  <a:cubicBezTo>
                    <a:pt x="9" y="143"/>
                    <a:pt x="47" y="182"/>
                    <a:pt x="95" y="182"/>
                  </a:cubicBezTo>
                  <a:cubicBezTo>
                    <a:pt x="143" y="182"/>
                    <a:pt x="182" y="143"/>
                    <a:pt x="182" y="95"/>
                  </a:cubicBezTo>
                  <a:cubicBezTo>
                    <a:pt x="182" y="47"/>
                    <a:pt x="143" y="8"/>
                    <a:pt x="95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7" name="Freeform 142">
              <a:extLst>
                <a:ext uri="{FF2B5EF4-FFF2-40B4-BE49-F238E27FC236}">
                  <a16:creationId xmlns:a16="http://schemas.microsoft.com/office/drawing/2014/main" id="{36ABF640-29AD-E9D9-2F40-BA71804AD2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691321" y="5434563"/>
              <a:ext cx="317955" cy="309802"/>
            </a:xfrm>
            <a:custGeom>
              <a:avLst/>
              <a:gdLst>
                <a:gd name="T0" fmla="*/ 97 w 127"/>
                <a:gd name="T1" fmla="*/ 122 h 123"/>
                <a:gd name="T2" fmla="*/ 93 w 127"/>
                <a:gd name="T3" fmla="*/ 121 h 123"/>
                <a:gd name="T4" fmla="*/ 63 w 127"/>
                <a:gd name="T5" fmla="*/ 103 h 123"/>
                <a:gd name="T6" fmla="*/ 34 w 127"/>
                <a:gd name="T7" fmla="*/ 121 h 123"/>
                <a:gd name="T8" fmla="*/ 34 w 127"/>
                <a:gd name="T9" fmla="*/ 121 h 123"/>
                <a:gd name="T10" fmla="*/ 25 w 127"/>
                <a:gd name="T11" fmla="*/ 120 h 123"/>
                <a:gd name="T12" fmla="*/ 21 w 127"/>
                <a:gd name="T13" fmla="*/ 112 h 123"/>
                <a:gd name="T14" fmla="*/ 29 w 127"/>
                <a:gd name="T15" fmla="*/ 77 h 123"/>
                <a:gd name="T16" fmla="*/ 4 w 127"/>
                <a:gd name="T17" fmla="*/ 56 h 123"/>
                <a:gd name="T18" fmla="*/ 1 w 127"/>
                <a:gd name="T19" fmla="*/ 47 h 123"/>
                <a:gd name="T20" fmla="*/ 8 w 127"/>
                <a:gd name="T21" fmla="*/ 41 h 123"/>
                <a:gd name="T22" fmla="*/ 40 w 127"/>
                <a:gd name="T23" fmla="*/ 37 h 123"/>
                <a:gd name="T24" fmla="*/ 56 w 127"/>
                <a:gd name="T25" fmla="*/ 5 h 123"/>
                <a:gd name="T26" fmla="*/ 63 w 127"/>
                <a:gd name="T27" fmla="*/ 0 h 123"/>
                <a:gd name="T28" fmla="*/ 71 w 127"/>
                <a:gd name="T29" fmla="*/ 5 h 123"/>
                <a:gd name="T30" fmla="*/ 87 w 127"/>
                <a:gd name="T31" fmla="*/ 37 h 123"/>
                <a:gd name="T32" fmla="*/ 119 w 127"/>
                <a:gd name="T33" fmla="*/ 41 h 123"/>
                <a:gd name="T34" fmla="*/ 126 w 127"/>
                <a:gd name="T35" fmla="*/ 47 h 123"/>
                <a:gd name="T36" fmla="*/ 123 w 127"/>
                <a:gd name="T37" fmla="*/ 56 h 123"/>
                <a:gd name="T38" fmla="*/ 98 w 127"/>
                <a:gd name="T39" fmla="*/ 77 h 123"/>
                <a:gd name="T40" fmla="*/ 105 w 127"/>
                <a:gd name="T41" fmla="*/ 112 h 123"/>
                <a:gd name="T42" fmla="*/ 102 w 127"/>
                <a:gd name="T43" fmla="*/ 120 h 123"/>
                <a:gd name="T44" fmla="*/ 97 w 127"/>
                <a:gd name="T45" fmla="*/ 122 h 123"/>
                <a:gd name="T46" fmla="*/ 63 w 127"/>
                <a:gd name="T47" fmla="*/ 8 h 123"/>
                <a:gd name="T48" fmla="*/ 63 w 127"/>
                <a:gd name="T49" fmla="*/ 9 h 123"/>
                <a:gd name="T50" fmla="*/ 47 w 127"/>
                <a:gd name="T51" fmla="*/ 43 h 123"/>
                <a:gd name="T52" fmla="*/ 43 w 127"/>
                <a:gd name="T53" fmla="*/ 45 h 123"/>
                <a:gd name="T54" fmla="*/ 9 w 127"/>
                <a:gd name="T55" fmla="*/ 49 h 123"/>
                <a:gd name="T56" fmla="*/ 9 w 127"/>
                <a:gd name="T57" fmla="*/ 49 h 123"/>
                <a:gd name="T58" fmla="*/ 9 w 127"/>
                <a:gd name="T59" fmla="*/ 49 h 123"/>
                <a:gd name="T60" fmla="*/ 36 w 127"/>
                <a:gd name="T61" fmla="*/ 72 h 123"/>
                <a:gd name="T62" fmla="*/ 37 w 127"/>
                <a:gd name="T63" fmla="*/ 76 h 123"/>
                <a:gd name="T64" fmla="*/ 29 w 127"/>
                <a:gd name="T65" fmla="*/ 113 h 123"/>
                <a:gd name="T66" fmla="*/ 29 w 127"/>
                <a:gd name="T67" fmla="*/ 114 h 123"/>
                <a:gd name="T68" fmla="*/ 30 w 127"/>
                <a:gd name="T69" fmla="*/ 114 h 123"/>
                <a:gd name="T70" fmla="*/ 30 w 127"/>
                <a:gd name="T71" fmla="*/ 114 h 123"/>
                <a:gd name="T72" fmla="*/ 61 w 127"/>
                <a:gd name="T73" fmla="*/ 95 h 123"/>
                <a:gd name="T74" fmla="*/ 65 w 127"/>
                <a:gd name="T75" fmla="*/ 95 h 123"/>
                <a:gd name="T76" fmla="*/ 97 w 127"/>
                <a:gd name="T77" fmla="*/ 114 h 123"/>
                <a:gd name="T78" fmla="*/ 97 w 127"/>
                <a:gd name="T79" fmla="*/ 114 h 123"/>
                <a:gd name="T80" fmla="*/ 97 w 127"/>
                <a:gd name="T81" fmla="*/ 113 h 123"/>
                <a:gd name="T82" fmla="*/ 89 w 127"/>
                <a:gd name="T83" fmla="*/ 76 h 123"/>
                <a:gd name="T84" fmla="*/ 91 w 127"/>
                <a:gd name="T85" fmla="*/ 72 h 123"/>
                <a:gd name="T86" fmla="*/ 118 w 127"/>
                <a:gd name="T87" fmla="*/ 49 h 123"/>
                <a:gd name="T88" fmla="*/ 118 w 127"/>
                <a:gd name="T89" fmla="*/ 49 h 123"/>
                <a:gd name="T90" fmla="*/ 118 w 127"/>
                <a:gd name="T91" fmla="*/ 49 h 123"/>
                <a:gd name="T92" fmla="*/ 83 w 127"/>
                <a:gd name="T93" fmla="*/ 45 h 123"/>
                <a:gd name="T94" fmla="*/ 80 w 127"/>
                <a:gd name="T95" fmla="*/ 43 h 123"/>
                <a:gd name="T96" fmla="*/ 64 w 127"/>
                <a:gd name="T97" fmla="*/ 9 h 123"/>
                <a:gd name="T98" fmla="*/ 63 w 127"/>
                <a:gd name="T99" fmla="*/ 8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7" h="123">
                  <a:moveTo>
                    <a:pt x="97" y="122"/>
                  </a:moveTo>
                  <a:cubicBezTo>
                    <a:pt x="96" y="122"/>
                    <a:pt x="94" y="122"/>
                    <a:pt x="93" y="121"/>
                  </a:cubicBezTo>
                  <a:cubicBezTo>
                    <a:pt x="63" y="103"/>
                    <a:pt x="63" y="103"/>
                    <a:pt x="63" y="103"/>
                  </a:cubicBezTo>
                  <a:cubicBezTo>
                    <a:pt x="34" y="121"/>
                    <a:pt x="34" y="121"/>
                    <a:pt x="34" y="121"/>
                  </a:cubicBezTo>
                  <a:cubicBezTo>
                    <a:pt x="34" y="121"/>
                    <a:pt x="34" y="121"/>
                    <a:pt x="34" y="121"/>
                  </a:cubicBezTo>
                  <a:cubicBezTo>
                    <a:pt x="31" y="123"/>
                    <a:pt x="27" y="122"/>
                    <a:pt x="25" y="120"/>
                  </a:cubicBezTo>
                  <a:cubicBezTo>
                    <a:pt x="22" y="118"/>
                    <a:pt x="20" y="115"/>
                    <a:pt x="21" y="112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4" y="56"/>
                    <a:pt x="4" y="56"/>
                    <a:pt x="4" y="56"/>
                  </a:cubicBezTo>
                  <a:cubicBezTo>
                    <a:pt x="1" y="54"/>
                    <a:pt x="0" y="50"/>
                    <a:pt x="1" y="47"/>
                  </a:cubicBezTo>
                  <a:cubicBezTo>
                    <a:pt x="2" y="43"/>
                    <a:pt x="5" y="41"/>
                    <a:pt x="8" y="41"/>
                  </a:cubicBezTo>
                  <a:cubicBezTo>
                    <a:pt x="40" y="37"/>
                    <a:pt x="40" y="37"/>
                    <a:pt x="40" y="37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7" y="2"/>
                    <a:pt x="60" y="0"/>
                    <a:pt x="63" y="0"/>
                  </a:cubicBezTo>
                  <a:cubicBezTo>
                    <a:pt x="67" y="0"/>
                    <a:pt x="70" y="2"/>
                    <a:pt x="71" y="5"/>
                  </a:cubicBezTo>
                  <a:cubicBezTo>
                    <a:pt x="87" y="37"/>
                    <a:pt x="87" y="37"/>
                    <a:pt x="87" y="37"/>
                  </a:cubicBezTo>
                  <a:cubicBezTo>
                    <a:pt x="119" y="41"/>
                    <a:pt x="119" y="41"/>
                    <a:pt x="119" y="41"/>
                  </a:cubicBezTo>
                  <a:cubicBezTo>
                    <a:pt x="122" y="41"/>
                    <a:pt x="125" y="43"/>
                    <a:pt x="126" y="47"/>
                  </a:cubicBezTo>
                  <a:cubicBezTo>
                    <a:pt x="127" y="50"/>
                    <a:pt x="126" y="54"/>
                    <a:pt x="123" y="56"/>
                  </a:cubicBezTo>
                  <a:cubicBezTo>
                    <a:pt x="98" y="77"/>
                    <a:pt x="98" y="77"/>
                    <a:pt x="98" y="77"/>
                  </a:cubicBezTo>
                  <a:cubicBezTo>
                    <a:pt x="105" y="112"/>
                    <a:pt x="105" y="112"/>
                    <a:pt x="105" y="112"/>
                  </a:cubicBezTo>
                  <a:cubicBezTo>
                    <a:pt x="106" y="115"/>
                    <a:pt x="105" y="118"/>
                    <a:pt x="102" y="120"/>
                  </a:cubicBezTo>
                  <a:cubicBezTo>
                    <a:pt x="101" y="121"/>
                    <a:pt x="99" y="122"/>
                    <a:pt x="97" y="122"/>
                  </a:cubicBezTo>
                  <a:close/>
                  <a:moveTo>
                    <a:pt x="63" y="8"/>
                  </a:moveTo>
                  <a:cubicBezTo>
                    <a:pt x="63" y="8"/>
                    <a:pt x="63" y="8"/>
                    <a:pt x="63" y="9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6" y="44"/>
                    <a:pt x="45" y="45"/>
                    <a:pt x="43" y="45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36" y="72"/>
                    <a:pt x="36" y="72"/>
                    <a:pt x="36" y="72"/>
                  </a:cubicBezTo>
                  <a:cubicBezTo>
                    <a:pt x="37" y="73"/>
                    <a:pt x="38" y="75"/>
                    <a:pt x="37" y="76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3"/>
                    <a:pt x="29" y="114"/>
                    <a:pt x="29" y="114"/>
                  </a:cubicBezTo>
                  <a:cubicBezTo>
                    <a:pt x="30" y="114"/>
                    <a:pt x="30" y="114"/>
                    <a:pt x="30" y="114"/>
                  </a:cubicBezTo>
                  <a:cubicBezTo>
                    <a:pt x="30" y="114"/>
                    <a:pt x="30" y="114"/>
                    <a:pt x="30" y="114"/>
                  </a:cubicBezTo>
                  <a:cubicBezTo>
                    <a:pt x="61" y="95"/>
                    <a:pt x="61" y="95"/>
                    <a:pt x="61" y="95"/>
                  </a:cubicBezTo>
                  <a:cubicBezTo>
                    <a:pt x="62" y="94"/>
                    <a:pt x="64" y="94"/>
                    <a:pt x="65" y="95"/>
                  </a:cubicBezTo>
                  <a:cubicBezTo>
                    <a:pt x="97" y="114"/>
                    <a:pt x="97" y="114"/>
                    <a:pt x="97" y="114"/>
                  </a:cubicBezTo>
                  <a:cubicBezTo>
                    <a:pt x="97" y="114"/>
                    <a:pt x="97" y="114"/>
                    <a:pt x="97" y="114"/>
                  </a:cubicBezTo>
                  <a:cubicBezTo>
                    <a:pt x="97" y="114"/>
                    <a:pt x="97" y="113"/>
                    <a:pt x="97" y="113"/>
                  </a:cubicBezTo>
                  <a:cubicBezTo>
                    <a:pt x="89" y="76"/>
                    <a:pt x="89" y="76"/>
                    <a:pt x="89" y="76"/>
                  </a:cubicBezTo>
                  <a:cubicBezTo>
                    <a:pt x="89" y="75"/>
                    <a:pt x="90" y="73"/>
                    <a:pt x="91" y="72"/>
                  </a:cubicBezTo>
                  <a:cubicBezTo>
                    <a:pt x="118" y="49"/>
                    <a:pt x="118" y="49"/>
                    <a:pt x="118" y="49"/>
                  </a:cubicBezTo>
                  <a:cubicBezTo>
                    <a:pt x="118" y="49"/>
                    <a:pt x="118" y="49"/>
                    <a:pt x="118" y="49"/>
                  </a:cubicBezTo>
                  <a:cubicBezTo>
                    <a:pt x="118" y="49"/>
                    <a:pt x="118" y="49"/>
                    <a:pt x="118" y="49"/>
                  </a:cubicBezTo>
                  <a:cubicBezTo>
                    <a:pt x="83" y="45"/>
                    <a:pt x="83" y="45"/>
                    <a:pt x="83" y="45"/>
                  </a:cubicBezTo>
                  <a:cubicBezTo>
                    <a:pt x="82" y="45"/>
                    <a:pt x="81" y="44"/>
                    <a:pt x="80" y="43"/>
                  </a:cubicBezTo>
                  <a:cubicBezTo>
                    <a:pt x="64" y="9"/>
                    <a:pt x="64" y="9"/>
                    <a:pt x="64" y="9"/>
                  </a:cubicBezTo>
                  <a:cubicBezTo>
                    <a:pt x="64" y="8"/>
                    <a:pt x="64" y="8"/>
                    <a:pt x="63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7" name="Shape17_20200717_154352">
            <a:extLst>
              <a:ext uri="{FF2B5EF4-FFF2-40B4-BE49-F238E27FC236}">
                <a16:creationId xmlns:a16="http://schemas.microsoft.com/office/drawing/2014/main" id="{9EF28142-7A8C-8215-C2CA-3E3EA317B825}"/>
              </a:ext>
            </a:extLst>
          </p:cNvPr>
          <p:cNvGrpSpPr>
            <a:grpSpLocks noChangeAspect="1"/>
          </p:cNvGrpSpPr>
          <p:nvPr/>
        </p:nvGrpSpPr>
        <p:grpSpPr>
          <a:xfrm>
            <a:off x="3245789" y="2497438"/>
            <a:ext cx="574766" cy="664446"/>
            <a:chOff x="-2147680" y="2381380"/>
            <a:chExt cx="574766" cy="664446"/>
          </a:xfrm>
          <a:solidFill>
            <a:schemeClr val="accent1"/>
          </a:solidFill>
        </p:grpSpPr>
        <p:sp>
          <p:nvSpPr>
            <p:cNvPr id="154" name="Freeform 143">
              <a:extLst>
                <a:ext uri="{FF2B5EF4-FFF2-40B4-BE49-F238E27FC236}">
                  <a16:creationId xmlns:a16="http://schemas.microsoft.com/office/drawing/2014/main" id="{D7A89476-8434-9F37-A216-A3C5C327C015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82458" y="2666724"/>
              <a:ext cx="444323" cy="379102"/>
            </a:xfrm>
            <a:custGeom>
              <a:avLst/>
              <a:gdLst>
                <a:gd name="T0" fmla="*/ 150 w 176"/>
                <a:gd name="T1" fmla="*/ 0 h 151"/>
                <a:gd name="T2" fmla="*/ 148 w 176"/>
                <a:gd name="T3" fmla="*/ 3 h 151"/>
                <a:gd name="T4" fmla="*/ 144 w 176"/>
                <a:gd name="T5" fmla="*/ 6 h 151"/>
                <a:gd name="T6" fmla="*/ 168 w 176"/>
                <a:gd name="T7" fmla="*/ 62 h 151"/>
                <a:gd name="T8" fmla="*/ 88 w 176"/>
                <a:gd name="T9" fmla="*/ 142 h 151"/>
                <a:gd name="T10" fmla="*/ 8 w 176"/>
                <a:gd name="T11" fmla="*/ 62 h 151"/>
                <a:gd name="T12" fmla="*/ 31 w 176"/>
                <a:gd name="T13" fmla="*/ 6 h 151"/>
                <a:gd name="T14" fmla="*/ 25 w 176"/>
                <a:gd name="T15" fmla="*/ 0 h 151"/>
                <a:gd name="T16" fmla="*/ 0 w 176"/>
                <a:gd name="T17" fmla="*/ 62 h 151"/>
                <a:gd name="T18" fmla="*/ 88 w 176"/>
                <a:gd name="T19" fmla="*/ 151 h 151"/>
                <a:gd name="T20" fmla="*/ 176 w 176"/>
                <a:gd name="T21" fmla="*/ 62 h 151"/>
                <a:gd name="T22" fmla="*/ 150 w 176"/>
                <a:gd name="T23" fmla="*/ 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6" h="151">
                  <a:moveTo>
                    <a:pt x="150" y="0"/>
                  </a:moveTo>
                  <a:cubicBezTo>
                    <a:pt x="149" y="1"/>
                    <a:pt x="148" y="2"/>
                    <a:pt x="148" y="3"/>
                  </a:cubicBezTo>
                  <a:cubicBezTo>
                    <a:pt x="147" y="4"/>
                    <a:pt x="145" y="5"/>
                    <a:pt x="144" y="6"/>
                  </a:cubicBezTo>
                  <a:cubicBezTo>
                    <a:pt x="159" y="20"/>
                    <a:pt x="168" y="40"/>
                    <a:pt x="168" y="62"/>
                  </a:cubicBezTo>
                  <a:cubicBezTo>
                    <a:pt x="168" y="106"/>
                    <a:pt x="132" y="142"/>
                    <a:pt x="88" y="142"/>
                  </a:cubicBezTo>
                  <a:cubicBezTo>
                    <a:pt x="44" y="142"/>
                    <a:pt x="8" y="106"/>
                    <a:pt x="8" y="62"/>
                  </a:cubicBezTo>
                  <a:cubicBezTo>
                    <a:pt x="8" y="40"/>
                    <a:pt x="17" y="20"/>
                    <a:pt x="31" y="6"/>
                  </a:cubicBezTo>
                  <a:cubicBezTo>
                    <a:pt x="29" y="4"/>
                    <a:pt x="27" y="2"/>
                    <a:pt x="25" y="0"/>
                  </a:cubicBezTo>
                  <a:cubicBezTo>
                    <a:pt x="10" y="16"/>
                    <a:pt x="0" y="38"/>
                    <a:pt x="0" y="62"/>
                  </a:cubicBezTo>
                  <a:cubicBezTo>
                    <a:pt x="0" y="111"/>
                    <a:pt x="40" y="151"/>
                    <a:pt x="88" y="151"/>
                  </a:cubicBezTo>
                  <a:cubicBezTo>
                    <a:pt x="137" y="151"/>
                    <a:pt x="176" y="111"/>
                    <a:pt x="176" y="62"/>
                  </a:cubicBezTo>
                  <a:cubicBezTo>
                    <a:pt x="176" y="38"/>
                    <a:pt x="166" y="16"/>
                    <a:pt x="15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5" name="Freeform 144">
              <a:extLst>
                <a:ext uri="{FF2B5EF4-FFF2-40B4-BE49-F238E27FC236}">
                  <a16:creationId xmlns:a16="http://schemas.microsoft.com/office/drawing/2014/main" id="{ADBE4D46-1791-4BEF-6A9E-ADFA3118B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13161" y="2907228"/>
              <a:ext cx="309802" cy="81527"/>
            </a:xfrm>
            <a:custGeom>
              <a:avLst/>
              <a:gdLst>
                <a:gd name="T0" fmla="*/ 5 w 124"/>
                <a:gd name="T1" fmla="*/ 31 h 31"/>
                <a:gd name="T2" fmla="*/ 2 w 124"/>
                <a:gd name="T3" fmla="*/ 29 h 31"/>
                <a:gd name="T4" fmla="*/ 2 w 124"/>
                <a:gd name="T5" fmla="*/ 23 h 31"/>
                <a:gd name="T6" fmla="*/ 62 w 124"/>
                <a:gd name="T7" fmla="*/ 0 h 31"/>
                <a:gd name="T8" fmla="*/ 122 w 124"/>
                <a:gd name="T9" fmla="*/ 23 h 31"/>
                <a:gd name="T10" fmla="*/ 122 w 124"/>
                <a:gd name="T11" fmla="*/ 29 h 31"/>
                <a:gd name="T12" fmla="*/ 116 w 124"/>
                <a:gd name="T13" fmla="*/ 29 h 31"/>
                <a:gd name="T14" fmla="*/ 62 w 124"/>
                <a:gd name="T15" fmla="*/ 8 h 31"/>
                <a:gd name="T16" fmla="*/ 8 w 124"/>
                <a:gd name="T17" fmla="*/ 30 h 31"/>
                <a:gd name="T18" fmla="*/ 5 w 124"/>
                <a:gd name="T1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4" h="31">
                  <a:moveTo>
                    <a:pt x="5" y="31"/>
                  </a:moveTo>
                  <a:cubicBezTo>
                    <a:pt x="4" y="31"/>
                    <a:pt x="3" y="30"/>
                    <a:pt x="2" y="29"/>
                  </a:cubicBezTo>
                  <a:cubicBezTo>
                    <a:pt x="0" y="28"/>
                    <a:pt x="0" y="25"/>
                    <a:pt x="2" y="23"/>
                  </a:cubicBezTo>
                  <a:cubicBezTo>
                    <a:pt x="18" y="8"/>
                    <a:pt x="40" y="0"/>
                    <a:pt x="62" y="0"/>
                  </a:cubicBezTo>
                  <a:cubicBezTo>
                    <a:pt x="84" y="0"/>
                    <a:pt x="106" y="8"/>
                    <a:pt x="122" y="23"/>
                  </a:cubicBezTo>
                  <a:cubicBezTo>
                    <a:pt x="123" y="25"/>
                    <a:pt x="124" y="27"/>
                    <a:pt x="122" y="29"/>
                  </a:cubicBezTo>
                  <a:cubicBezTo>
                    <a:pt x="121" y="31"/>
                    <a:pt x="118" y="31"/>
                    <a:pt x="116" y="29"/>
                  </a:cubicBezTo>
                  <a:cubicBezTo>
                    <a:pt x="101" y="16"/>
                    <a:pt x="82" y="8"/>
                    <a:pt x="62" y="8"/>
                  </a:cubicBezTo>
                  <a:cubicBezTo>
                    <a:pt x="42" y="8"/>
                    <a:pt x="22" y="16"/>
                    <a:pt x="8" y="30"/>
                  </a:cubicBezTo>
                  <a:cubicBezTo>
                    <a:pt x="7" y="30"/>
                    <a:pt x="6" y="31"/>
                    <a:pt x="5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6" name="Freeform 145">
              <a:extLst>
                <a:ext uri="{FF2B5EF4-FFF2-40B4-BE49-F238E27FC236}">
                  <a16:creationId xmlns:a16="http://schemas.microsoft.com/office/drawing/2014/main" id="{5A9A1D92-7A70-79A3-24C1-BFBB07E60188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80551" y="2703410"/>
              <a:ext cx="240506" cy="342413"/>
            </a:xfrm>
            <a:custGeom>
              <a:avLst/>
              <a:gdLst>
                <a:gd name="T0" fmla="*/ 81 w 96"/>
                <a:gd name="T1" fmla="*/ 3 h 136"/>
                <a:gd name="T2" fmla="*/ 81 w 96"/>
                <a:gd name="T3" fmla="*/ 3 h 136"/>
                <a:gd name="T4" fmla="*/ 88 w 96"/>
                <a:gd name="T5" fmla="*/ 47 h 136"/>
                <a:gd name="T6" fmla="*/ 48 w 96"/>
                <a:gd name="T7" fmla="*/ 127 h 136"/>
                <a:gd name="T8" fmla="*/ 8 w 96"/>
                <a:gd name="T9" fmla="*/ 47 h 136"/>
                <a:gd name="T10" fmla="*/ 15 w 96"/>
                <a:gd name="T11" fmla="*/ 2 h 136"/>
                <a:gd name="T12" fmla="*/ 7 w 96"/>
                <a:gd name="T13" fmla="*/ 0 h 136"/>
                <a:gd name="T14" fmla="*/ 0 w 96"/>
                <a:gd name="T15" fmla="*/ 47 h 136"/>
                <a:gd name="T16" fmla="*/ 48 w 96"/>
                <a:gd name="T17" fmla="*/ 136 h 136"/>
                <a:gd name="T18" fmla="*/ 96 w 96"/>
                <a:gd name="T19" fmla="*/ 47 h 136"/>
                <a:gd name="T20" fmla="*/ 89 w 96"/>
                <a:gd name="T21" fmla="*/ 0 h 136"/>
                <a:gd name="T22" fmla="*/ 81 w 96"/>
                <a:gd name="T23" fmla="*/ 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6" h="136">
                  <a:moveTo>
                    <a:pt x="81" y="3"/>
                  </a:moveTo>
                  <a:cubicBezTo>
                    <a:pt x="81" y="3"/>
                    <a:pt x="81" y="3"/>
                    <a:pt x="81" y="3"/>
                  </a:cubicBezTo>
                  <a:cubicBezTo>
                    <a:pt x="85" y="16"/>
                    <a:pt x="88" y="31"/>
                    <a:pt x="88" y="47"/>
                  </a:cubicBezTo>
                  <a:cubicBezTo>
                    <a:pt x="88" y="91"/>
                    <a:pt x="70" y="127"/>
                    <a:pt x="48" y="127"/>
                  </a:cubicBezTo>
                  <a:cubicBezTo>
                    <a:pt x="26" y="127"/>
                    <a:pt x="8" y="91"/>
                    <a:pt x="8" y="47"/>
                  </a:cubicBezTo>
                  <a:cubicBezTo>
                    <a:pt x="8" y="31"/>
                    <a:pt x="11" y="15"/>
                    <a:pt x="15" y="2"/>
                  </a:cubicBezTo>
                  <a:cubicBezTo>
                    <a:pt x="13" y="1"/>
                    <a:pt x="10" y="1"/>
                    <a:pt x="7" y="0"/>
                  </a:cubicBezTo>
                  <a:cubicBezTo>
                    <a:pt x="3" y="13"/>
                    <a:pt x="0" y="30"/>
                    <a:pt x="0" y="47"/>
                  </a:cubicBezTo>
                  <a:cubicBezTo>
                    <a:pt x="0" y="97"/>
                    <a:pt x="21" y="136"/>
                    <a:pt x="48" y="136"/>
                  </a:cubicBezTo>
                  <a:cubicBezTo>
                    <a:pt x="75" y="136"/>
                    <a:pt x="96" y="97"/>
                    <a:pt x="96" y="47"/>
                  </a:cubicBezTo>
                  <a:cubicBezTo>
                    <a:pt x="96" y="30"/>
                    <a:pt x="94" y="14"/>
                    <a:pt x="89" y="0"/>
                  </a:cubicBezTo>
                  <a:cubicBezTo>
                    <a:pt x="86" y="1"/>
                    <a:pt x="84" y="2"/>
                    <a:pt x="81" y="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7" name="Freeform 146">
              <a:extLst>
                <a:ext uri="{FF2B5EF4-FFF2-40B4-BE49-F238E27FC236}">
                  <a16:creationId xmlns:a16="http://schemas.microsoft.com/office/drawing/2014/main" id="{334C8FA0-80C4-F5BA-A3F9-C1ECB6164475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82458" y="2813473"/>
              <a:ext cx="444323" cy="20383"/>
            </a:xfrm>
            <a:custGeom>
              <a:avLst/>
              <a:gdLst>
                <a:gd name="T0" fmla="*/ 172 w 176"/>
                <a:gd name="T1" fmla="*/ 8 h 8"/>
                <a:gd name="T2" fmla="*/ 4 w 176"/>
                <a:gd name="T3" fmla="*/ 8 h 8"/>
                <a:gd name="T4" fmla="*/ 0 w 176"/>
                <a:gd name="T5" fmla="*/ 4 h 8"/>
                <a:gd name="T6" fmla="*/ 4 w 176"/>
                <a:gd name="T7" fmla="*/ 0 h 8"/>
                <a:gd name="T8" fmla="*/ 172 w 176"/>
                <a:gd name="T9" fmla="*/ 0 h 8"/>
                <a:gd name="T10" fmla="*/ 176 w 176"/>
                <a:gd name="T11" fmla="*/ 4 h 8"/>
                <a:gd name="T12" fmla="*/ 172 w 176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6" h="8">
                  <a:moveTo>
                    <a:pt x="172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72" y="0"/>
                    <a:pt x="172" y="0"/>
                    <a:pt x="172" y="0"/>
                  </a:cubicBezTo>
                  <a:cubicBezTo>
                    <a:pt x="175" y="0"/>
                    <a:pt x="176" y="2"/>
                    <a:pt x="176" y="4"/>
                  </a:cubicBezTo>
                  <a:cubicBezTo>
                    <a:pt x="176" y="7"/>
                    <a:pt x="175" y="8"/>
                    <a:pt x="17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8" name="Freeform 147">
              <a:extLst>
                <a:ext uri="{FF2B5EF4-FFF2-40B4-BE49-F238E27FC236}">
                  <a16:creationId xmlns:a16="http://schemas.microsoft.com/office/drawing/2014/main" id="{CE828EE2-D91C-9B17-6057-7BA406A4214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70488" y="2723793"/>
              <a:ext cx="20383" cy="322033"/>
            </a:xfrm>
            <a:custGeom>
              <a:avLst/>
              <a:gdLst>
                <a:gd name="T0" fmla="*/ 0 w 8"/>
                <a:gd name="T1" fmla="*/ 0 h 129"/>
                <a:gd name="T2" fmla="*/ 0 w 8"/>
                <a:gd name="T3" fmla="*/ 124 h 129"/>
                <a:gd name="T4" fmla="*/ 4 w 8"/>
                <a:gd name="T5" fmla="*/ 129 h 129"/>
                <a:gd name="T6" fmla="*/ 8 w 8"/>
                <a:gd name="T7" fmla="*/ 124 h 129"/>
                <a:gd name="T8" fmla="*/ 8 w 8"/>
                <a:gd name="T9" fmla="*/ 1 h 129"/>
                <a:gd name="T10" fmla="*/ 0 w 8"/>
                <a:gd name="T11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29">
                  <a:moveTo>
                    <a:pt x="0" y="0"/>
                  </a:moveTo>
                  <a:cubicBezTo>
                    <a:pt x="0" y="124"/>
                    <a:pt x="0" y="124"/>
                    <a:pt x="0" y="124"/>
                  </a:cubicBezTo>
                  <a:cubicBezTo>
                    <a:pt x="0" y="127"/>
                    <a:pt x="2" y="129"/>
                    <a:pt x="4" y="129"/>
                  </a:cubicBezTo>
                  <a:cubicBezTo>
                    <a:pt x="6" y="129"/>
                    <a:pt x="8" y="127"/>
                    <a:pt x="8" y="124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5" y="1"/>
                    <a:pt x="3" y="1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9" name="Freeform 148">
              <a:extLst>
                <a:ext uri="{FF2B5EF4-FFF2-40B4-BE49-F238E27FC236}">
                  <a16:creationId xmlns:a16="http://schemas.microsoft.com/office/drawing/2014/main" id="{1F5F3684-AC81-BAC9-14C5-F114925614DD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33542" y="2568892"/>
              <a:ext cx="346491" cy="167132"/>
            </a:xfrm>
            <a:custGeom>
              <a:avLst/>
              <a:gdLst>
                <a:gd name="T0" fmla="*/ 133 w 138"/>
                <a:gd name="T1" fmla="*/ 2 h 67"/>
                <a:gd name="T2" fmla="*/ 130 w 138"/>
                <a:gd name="T3" fmla="*/ 3 h 67"/>
                <a:gd name="T4" fmla="*/ 130 w 138"/>
                <a:gd name="T5" fmla="*/ 37 h 67"/>
                <a:gd name="T6" fmla="*/ 9 w 138"/>
                <a:gd name="T7" fmla="*/ 37 h 67"/>
                <a:gd name="T8" fmla="*/ 9 w 138"/>
                <a:gd name="T9" fmla="*/ 6 h 67"/>
                <a:gd name="T10" fmla="*/ 0 w 138"/>
                <a:gd name="T11" fmla="*/ 0 h 67"/>
                <a:gd name="T12" fmla="*/ 0 w 138"/>
                <a:gd name="T13" fmla="*/ 39 h 67"/>
                <a:gd name="T14" fmla="*/ 2 w 138"/>
                <a:gd name="T15" fmla="*/ 42 h 67"/>
                <a:gd name="T16" fmla="*/ 69 w 138"/>
                <a:gd name="T17" fmla="*/ 67 h 67"/>
                <a:gd name="T18" fmla="*/ 136 w 138"/>
                <a:gd name="T19" fmla="*/ 42 h 67"/>
                <a:gd name="T20" fmla="*/ 138 w 138"/>
                <a:gd name="T21" fmla="*/ 39 h 67"/>
                <a:gd name="T22" fmla="*/ 138 w 138"/>
                <a:gd name="T23" fmla="*/ 1 h 67"/>
                <a:gd name="T24" fmla="*/ 133 w 138"/>
                <a:gd name="T25" fmla="*/ 2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8" h="67">
                  <a:moveTo>
                    <a:pt x="133" y="2"/>
                  </a:moveTo>
                  <a:cubicBezTo>
                    <a:pt x="132" y="3"/>
                    <a:pt x="131" y="3"/>
                    <a:pt x="130" y="3"/>
                  </a:cubicBezTo>
                  <a:cubicBezTo>
                    <a:pt x="130" y="37"/>
                    <a:pt x="130" y="37"/>
                    <a:pt x="130" y="37"/>
                  </a:cubicBezTo>
                  <a:cubicBezTo>
                    <a:pt x="95" y="66"/>
                    <a:pt x="43" y="66"/>
                    <a:pt x="9" y="37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6" y="4"/>
                    <a:pt x="3" y="2"/>
                    <a:pt x="0" y="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0"/>
                    <a:pt x="1" y="41"/>
                    <a:pt x="2" y="42"/>
                  </a:cubicBezTo>
                  <a:cubicBezTo>
                    <a:pt x="21" y="59"/>
                    <a:pt x="45" y="67"/>
                    <a:pt x="69" y="67"/>
                  </a:cubicBezTo>
                  <a:cubicBezTo>
                    <a:pt x="93" y="67"/>
                    <a:pt x="117" y="59"/>
                    <a:pt x="136" y="42"/>
                  </a:cubicBezTo>
                  <a:cubicBezTo>
                    <a:pt x="137" y="41"/>
                    <a:pt x="138" y="40"/>
                    <a:pt x="138" y="39"/>
                  </a:cubicBezTo>
                  <a:cubicBezTo>
                    <a:pt x="138" y="1"/>
                    <a:pt x="138" y="1"/>
                    <a:pt x="138" y="1"/>
                  </a:cubicBezTo>
                  <a:cubicBezTo>
                    <a:pt x="136" y="2"/>
                    <a:pt x="135" y="2"/>
                    <a:pt x="133" y="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0" name="Freeform 149">
              <a:extLst>
                <a:ext uri="{FF2B5EF4-FFF2-40B4-BE49-F238E27FC236}">
                  <a16:creationId xmlns:a16="http://schemas.microsoft.com/office/drawing/2014/main" id="{3FF06A50-7263-BEC2-F194-AD3260276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695206" y="2666724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1" name="Freeform 150">
              <a:extLst>
                <a:ext uri="{FF2B5EF4-FFF2-40B4-BE49-F238E27FC236}">
                  <a16:creationId xmlns:a16="http://schemas.microsoft.com/office/drawing/2014/main" id="{2B76930A-9C6C-1AB0-5611-C9077FC08C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147680" y="2381380"/>
              <a:ext cx="574766" cy="269039"/>
            </a:xfrm>
            <a:custGeom>
              <a:avLst/>
              <a:gdLst>
                <a:gd name="T0" fmla="*/ 114 w 228"/>
                <a:gd name="T1" fmla="*/ 107 h 107"/>
                <a:gd name="T2" fmla="*/ 112 w 228"/>
                <a:gd name="T3" fmla="*/ 106 h 107"/>
                <a:gd name="T4" fmla="*/ 3 w 228"/>
                <a:gd name="T5" fmla="*/ 57 h 107"/>
                <a:gd name="T6" fmla="*/ 0 w 228"/>
                <a:gd name="T7" fmla="*/ 53 h 107"/>
                <a:gd name="T8" fmla="*/ 3 w 228"/>
                <a:gd name="T9" fmla="*/ 50 h 107"/>
                <a:gd name="T10" fmla="*/ 112 w 228"/>
                <a:gd name="T11" fmla="*/ 0 h 107"/>
                <a:gd name="T12" fmla="*/ 116 w 228"/>
                <a:gd name="T13" fmla="*/ 0 h 107"/>
                <a:gd name="T14" fmla="*/ 226 w 228"/>
                <a:gd name="T15" fmla="*/ 50 h 107"/>
                <a:gd name="T16" fmla="*/ 228 w 228"/>
                <a:gd name="T17" fmla="*/ 53 h 107"/>
                <a:gd name="T18" fmla="*/ 226 w 228"/>
                <a:gd name="T19" fmla="*/ 57 h 107"/>
                <a:gd name="T20" fmla="*/ 116 w 228"/>
                <a:gd name="T21" fmla="*/ 106 h 107"/>
                <a:gd name="T22" fmla="*/ 114 w 228"/>
                <a:gd name="T23" fmla="*/ 107 h 107"/>
                <a:gd name="T24" fmla="*/ 14 w 228"/>
                <a:gd name="T25" fmla="*/ 53 h 107"/>
                <a:gd name="T26" fmla="*/ 114 w 228"/>
                <a:gd name="T27" fmla="*/ 98 h 107"/>
                <a:gd name="T28" fmla="*/ 214 w 228"/>
                <a:gd name="T29" fmla="*/ 53 h 107"/>
                <a:gd name="T30" fmla="*/ 114 w 228"/>
                <a:gd name="T31" fmla="*/ 9 h 107"/>
                <a:gd name="T32" fmla="*/ 14 w 228"/>
                <a:gd name="T33" fmla="*/ 5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8" h="107">
                  <a:moveTo>
                    <a:pt x="114" y="107"/>
                  </a:moveTo>
                  <a:cubicBezTo>
                    <a:pt x="114" y="107"/>
                    <a:pt x="113" y="107"/>
                    <a:pt x="112" y="106"/>
                  </a:cubicBezTo>
                  <a:cubicBezTo>
                    <a:pt x="3" y="57"/>
                    <a:pt x="3" y="57"/>
                    <a:pt x="3" y="57"/>
                  </a:cubicBezTo>
                  <a:cubicBezTo>
                    <a:pt x="1" y="56"/>
                    <a:pt x="0" y="55"/>
                    <a:pt x="0" y="53"/>
                  </a:cubicBezTo>
                  <a:cubicBezTo>
                    <a:pt x="0" y="52"/>
                    <a:pt x="1" y="50"/>
                    <a:pt x="3" y="5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4" y="0"/>
                    <a:pt x="115" y="0"/>
                    <a:pt x="116" y="0"/>
                  </a:cubicBezTo>
                  <a:cubicBezTo>
                    <a:pt x="226" y="50"/>
                    <a:pt x="226" y="50"/>
                    <a:pt x="226" y="50"/>
                  </a:cubicBezTo>
                  <a:cubicBezTo>
                    <a:pt x="227" y="50"/>
                    <a:pt x="228" y="52"/>
                    <a:pt x="228" y="53"/>
                  </a:cubicBezTo>
                  <a:cubicBezTo>
                    <a:pt x="228" y="55"/>
                    <a:pt x="227" y="56"/>
                    <a:pt x="226" y="57"/>
                  </a:cubicBezTo>
                  <a:cubicBezTo>
                    <a:pt x="116" y="106"/>
                    <a:pt x="116" y="106"/>
                    <a:pt x="116" y="106"/>
                  </a:cubicBezTo>
                  <a:cubicBezTo>
                    <a:pt x="115" y="107"/>
                    <a:pt x="115" y="107"/>
                    <a:pt x="114" y="107"/>
                  </a:cubicBezTo>
                  <a:close/>
                  <a:moveTo>
                    <a:pt x="14" y="53"/>
                  </a:moveTo>
                  <a:cubicBezTo>
                    <a:pt x="114" y="98"/>
                    <a:pt x="114" y="98"/>
                    <a:pt x="114" y="98"/>
                  </a:cubicBezTo>
                  <a:cubicBezTo>
                    <a:pt x="214" y="53"/>
                    <a:pt x="214" y="53"/>
                    <a:pt x="214" y="53"/>
                  </a:cubicBezTo>
                  <a:cubicBezTo>
                    <a:pt x="114" y="9"/>
                    <a:pt x="114" y="9"/>
                    <a:pt x="114" y="9"/>
                  </a:cubicBezTo>
                  <a:lnTo>
                    <a:pt x="14" y="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2" name="Freeform 151">
              <a:extLst>
                <a:ext uri="{FF2B5EF4-FFF2-40B4-BE49-F238E27FC236}">
                  <a16:creationId xmlns:a16="http://schemas.microsoft.com/office/drawing/2014/main" id="{E4C88E25-D5B4-51B6-A8AC-B75A62411578}"/>
                </a:ext>
              </a:extLst>
            </p:cNvPr>
            <p:cNvSpPr>
              <a:spLocks/>
            </p:cNvSpPr>
            <p:nvPr/>
          </p:nvSpPr>
          <p:spPr bwMode="auto">
            <a:xfrm>
              <a:off x="-2119146" y="2519976"/>
              <a:ext cx="20383" cy="138596"/>
            </a:xfrm>
            <a:custGeom>
              <a:avLst/>
              <a:gdLst>
                <a:gd name="T0" fmla="*/ 4 w 8"/>
                <a:gd name="T1" fmla="*/ 56 h 56"/>
                <a:gd name="T2" fmla="*/ 0 w 8"/>
                <a:gd name="T3" fmla="*/ 52 h 56"/>
                <a:gd name="T4" fmla="*/ 0 w 8"/>
                <a:gd name="T5" fmla="*/ 4 h 56"/>
                <a:gd name="T6" fmla="*/ 4 w 8"/>
                <a:gd name="T7" fmla="*/ 0 h 56"/>
                <a:gd name="T8" fmla="*/ 8 w 8"/>
                <a:gd name="T9" fmla="*/ 4 h 56"/>
                <a:gd name="T10" fmla="*/ 8 w 8"/>
                <a:gd name="T11" fmla="*/ 52 h 56"/>
                <a:gd name="T12" fmla="*/ 4 w 8"/>
                <a:gd name="T13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6">
                  <a:moveTo>
                    <a:pt x="4" y="56"/>
                  </a:moveTo>
                  <a:cubicBezTo>
                    <a:pt x="2" y="56"/>
                    <a:pt x="0" y="54"/>
                    <a:pt x="0" y="5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8" y="54"/>
                    <a:pt x="6" y="56"/>
                    <a:pt x="4" y="5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3" name="Freeform 152">
              <a:extLst>
                <a:ext uri="{FF2B5EF4-FFF2-40B4-BE49-F238E27FC236}">
                  <a16:creationId xmlns:a16="http://schemas.microsoft.com/office/drawing/2014/main" id="{0956EEAA-9D5F-5E6B-0969-CFFDE5C496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147680" y="2638189"/>
              <a:ext cx="73374" cy="69299"/>
            </a:xfrm>
            <a:custGeom>
              <a:avLst/>
              <a:gdLst>
                <a:gd name="T0" fmla="*/ 14 w 28"/>
                <a:gd name="T1" fmla="*/ 27 h 27"/>
                <a:gd name="T2" fmla="*/ 0 w 28"/>
                <a:gd name="T3" fmla="*/ 13 h 27"/>
                <a:gd name="T4" fmla="*/ 14 w 28"/>
                <a:gd name="T5" fmla="*/ 0 h 27"/>
                <a:gd name="T6" fmla="*/ 28 w 28"/>
                <a:gd name="T7" fmla="*/ 13 h 27"/>
                <a:gd name="T8" fmla="*/ 14 w 28"/>
                <a:gd name="T9" fmla="*/ 27 h 27"/>
                <a:gd name="T10" fmla="*/ 14 w 28"/>
                <a:gd name="T11" fmla="*/ 8 h 27"/>
                <a:gd name="T12" fmla="*/ 9 w 28"/>
                <a:gd name="T13" fmla="*/ 13 h 27"/>
                <a:gd name="T14" fmla="*/ 14 w 28"/>
                <a:gd name="T15" fmla="*/ 19 h 27"/>
                <a:gd name="T16" fmla="*/ 19 w 28"/>
                <a:gd name="T17" fmla="*/ 13 h 27"/>
                <a:gd name="T18" fmla="*/ 14 w 28"/>
                <a:gd name="T19" fmla="*/ 8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27">
                  <a:moveTo>
                    <a:pt x="14" y="27"/>
                  </a:moveTo>
                  <a:cubicBezTo>
                    <a:pt x="6" y="27"/>
                    <a:pt x="0" y="21"/>
                    <a:pt x="0" y="13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22" y="0"/>
                    <a:pt x="28" y="6"/>
                    <a:pt x="28" y="13"/>
                  </a:cubicBezTo>
                  <a:cubicBezTo>
                    <a:pt x="28" y="21"/>
                    <a:pt x="22" y="27"/>
                    <a:pt x="14" y="27"/>
                  </a:cubicBezTo>
                  <a:close/>
                  <a:moveTo>
                    <a:pt x="14" y="8"/>
                  </a:moveTo>
                  <a:cubicBezTo>
                    <a:pt x="11" y="8"/>
                    <a:pt x="9" y="10"/>
                    <a:pt x="9" y="13"/>
                  </a:cubicBezTo>
                  <a:cubicBezTo>
                    <a:pt x="9" y="16"/>
                    <a:pt x="11" y="19"/>
                    <a:pt x="14" y="19"/>
                  </a:cubicBezTo>
                  <a:cubicBezTo>
                    <a:pt x="17" y="19"/>
                    <a:pt x="19" y="16"/>
                    <a:pt x="19" y="13"/>
                  </a:cubicBezTo>
                  <a:cubicBezTo>
                    <a:pt x="19" y="10"/>
                    <a:pt x="17" y="8"/>
                    <a:pt x="14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4" name="Freeform 153">
              <a:extLst>
                <a:ext uri="{FF2B5EF4-FFF2-40B4-BE49-F238E27FC236}">
                  <a16:creationId xmlns:a16="http://schemas.microsoft.com/office/drawing/2014/main" id="{C88EF043-B265-853D-D225-0BD246CAEDDB}"/>
                </a:ext>
              </a:extLst>
            </p:cNvPr>
            <p:cNvSpPr>
              <a:spLocks/>
            </p:cNvSpPr>
            <p:nvPr/>
          </p:nvSpPr>
          <p:spPr bwMode="auto">
            <a:xfrm>
              <a:off x="-2147680" y="2683030"/>
              <a:ext cx="73374" cy="93757"/>
            </a:xfrm>
            <a:custGeom>
              <a:avLst/>
              <a:gdLst>
                <a:gd name="T0" fmla="*/ 23 w 28"/>
                <a:gd name="T1" fmla="*/ 36 h 36"/>
                <a:gd name="T2" fmla="*/ 4 w 28"/>
                <a:gd name="T3" fmla="*/ 36 h 36"/>
                <a:gd name="T4" fmla="*/ 1 w 28"/>
                <a:gd name="T5" fmla="*/ 34 h 36"/>
                <a:gd name="T6" fmla="*/ 0 w 28"/>
                <a:gd name="T7" fmla="*/ 31 h 36"/>
                <a:gd name="T8" fmla="*/ 6 w 28"/>
                <a:gd name="T9" fmla="*/ 4 h 36"/>
                <a:gd name="T10" fmla="*/ 11 w 28"/>
                <a:gd name="T11" fmla="*/ 1 h 36"/>
                <a:gd name="T12" fmla="*/ 14 w 28"/>
                <a:gd name="T13" fmla="*/ 6 h 36"/>
                <a:gd name="T14" fmla="*/ 9 w 28"/>
                <a:gd name="T15" fmla="*/ 28 h 36"/>
                <a:gd name="T16" fmla="*/ 18 w 28"/>
                <a:gd name="T17" fmla="*/ 28 h 36"/>
                <a:gd name="T18" fmla="*/ 14 w 28"/>
                <a:gd name="T19" fmla="*/ 6 h 36"/>
                <a:gd name="T20" fmla="*/ 17 w 28"/>
                <a:gd name="T21" fmla="*/ 1 h 36"/>
                <a:gd name="T22" fmla="*/ 22 w 28"/>
                <a:gd name="T23" fmla="*/ 4 h 36"/>
                <a:gd name="T24" fmla="*/ 28 w 28"/>
                <a:gd name="T25" fmla="*/ 31 h 36"/>
                <a:gd name="T26" fmla="*/ 27 w 28"/>
                <a:gd name="T27" fmla="*/ 34 h 36"/>
                <a:gd name="T28" fmla="*/ 23 w 28"/>
                <a:gd name="T2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36">
                  <a:moveTo>
                    <a:pt x="23" y="36"/>
                  </a:moveTo>
                  <a:cubicBezTo>
                    <a:pt x="4" y="36"/>
                    <a:pt x="4" y="36"/>
                    <a:pt x="4" y="36"/>
                  </a:cubicBezTo>
                  <a:cubicBezTo>
                    <a:pt x="3" y="36"/>
                    <a:pt x="2" y="35"/>
                    <a:pt x="1" y="34"/>
                  </a:cubicBezTo>
                  <a:cubicBezTo>
                    <a:pt x="1" y="33"/>
                    <a:pt x="0" y="32"/>
                    <a:pt x="0" y="31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2"/>
                    <a:pt x="8" y="0"/>
                    <a:pt x="11" y="1"/>
                  </a:cubicBezTo>
                  <a:cubicBezTo>
                    <a:pt x="13" y="1"/>
                    <a:pt x="14" y="3"/>
                    <a:pt x="14" y="6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3"/>
                    <a:pt x="15" y="1"/>
                    <a:pt x="17" y="1"/>
                  </a:cubicBezTo>
                  <a:cubicBezTo>
                    <a:pt x="20" y="0"/>
                    <a:pt x="22" y="2"/>
                    <a:pt x="22" y="4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7" y="33"/>
                    <a:pt x="27" y="34"/>
                  </a:cubicBezTo>
                  <a:cubicBezTo>
                    <a:pt x="26" y="35"/>
                    <a:pt x="25" y="36"/>
                    <a:pt x="23" y="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8" name="Shape18_20200717_154352">
            <a:extLst>
              <a:ext uri="{FF2B5EF4-FFF2-40B4-BE49-F238E27FC236}">
                <a16:creationId xmlns:a16="http://schemas.microsoft.com/office/drawing/2014/main" id="{A7C72313-0850-9565-A97A-AA3A76F651E3}"/>
              </a:ext>
            </a:extLst>
          </p:cNvPr>
          <p:cNvGrpSpPr>
            <a:grpSpLocks noChangeAspect="1"/>
          </p:cNvGrpSpPr>
          <p:nvPr/>
        </p:nvGrpSpPr>
        <p:grpSpPr>
          <a:xfrm>
            <a:off x="530941" y="3890420"/>
            <a:ext cx="701132" cy="566614"/>
            <a:chOff x="-8922571" y="5304120"/>
            <a:chExt cx="701132" cy="566614"/>
          </a:xfrm>
          <a:solidFill>
            <a:schemeClr val="accent1"/>
          </a:solidFill>
        </p:grpSpPr>
        <p:sp>
          <p:nvSpPr>
            <p:cNvPr id="145" name="Freeform 154">
              <a:extLst>
                <a:ext uri="{FF2B5EF4-FFF2-40B4-BE49-F238E27FC236}">
                  <a16:creationId xmlns:a16="http://schemas.microsoft.com/office/drawing/2014/main" id="{9E45211E-64E4-8BE7-07E8-E0F412E662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8922571" y="5304120"/>
              <a:ext cx="701132" cy="566614"/>
            </a:xfrm>
            <a:custGeom>
              <a:avLst/>
              <a:gdLst>
                <a:gd name="T0" fmla="*/ 274 w 278"/>
                <a:gd name="T1" fmla="*/ 225 h 225"/>
                <a:gd name="T2" fmla="*/ 4 w 278"/>
                <a:gd name="T3" fmla="*/ 225 h 225"/>
                <a:gd name="T4" fmla="*/ 0 w 278"/>
                <a:gd name="T5" fmla="*/ 221 h 225"/>
                <a:gd name="T6" fmla="*/ 0 w 278"/>
                <a:gd name="T7" fmla="*/ 4 h 225"/>
                <a:gd name="T8" fmla="*/ 4 w 278"/>
                <a:gd name="T9" fmla="*/ 0 h 225"/>
                <a:gd name="T10" fmla="*/ 274 w 278"/>
                <a:gd name="T11" fmla="*/ 0 h 225"/>
                <a:gd name="T12" fmla="*/ 278 w 278"/>
                <a:gd name="T13" fmla="*/ 4 h 225"/>
                <a:gd name="T14" fmla="*/ 278 w 278"/>
                <a:gd name="T15" fmla="*/ 221 h 225"/>
                <a:gd name="T16" fmla="*/ 274 w 278"/>
                <a:gd name="T17" fmla="*/ 225 h 225"/>
                <a:gd name="T18" fmla="*/ 8 w 278"/>
                <a:gd name="T19" fmla="*/ 217 h 225"/>
                <a:gd name="T20" fmla="*/ 270 w 278"/>
                <a:gd name="T21" fmla="*/ 217 h 225"/>
                <a:gd name="T22" fmla="*/ 270 w 278"/>
                <a:gd name="T23" fmla="*/ 9 h 225"/>
                <a:gd name="T24" fmla="*/ 8 w 278"/>
                <a:gd name="T25" fmla="*/ 9 h 225"/>
                <a:gd name="T26" fmla="*/ 8 w 278"/>
                <a:gd name="T27" fmla="*/ 217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8" h="225">
                  <a:moveTo>
                    <a:pt x="274" y="225"/>
                  </a:moveTo>
                  <a:cubicBezTo>
                    <a:pt x="4" y="225"/>
                    <a:pt x="4" y="225"/>
                    <a:pt x="4" y="225"/>
                  </a:cubicBezTo>
                  <a:cubicBezTo>
                    <a:pt x="2" y="225"/>
                    <a:pt x="0" y="223"/>
                    <a:pt x="0" y="22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74" y="0"/>
                    <a:pt x="274" y="0"/>
                    <a:pt x="274" y="0"/>
                  </a:cubicBezTo>
                  <a:cubicBezTo>
                    <a:pt x="276" y="0"/>
                    <a:pt x="278" y="2"/>
                    <a:pt x="278" y="4"/>
                  </a:cubicBezTo>
                  <a:cubicBezTo>
                    <a:pt x="278" y="221"/>
                    <a:pt x="278" y="221"/>
                    <a:pt x="278" y="221"/>
                  </a:cubicBezTo>
                  <a:cubicBezTo>
                    <a:pt x="278" y="223"/>
                    <a:pt x="276" y="225"/>
                    <a:pt x="274" y="225"/>
                  </a:cubicBezTo>
                  <a:close/>
                  <a:moveTo>
                    <a:pt x="8" y="217"/>
                  </a:moveTo>
                  <a:cubicBezTo>
                    <a:pt x="270" y="217"/>
                    <a:pt x="270" y="217"/>
                    <a:pt x="270" y="217"/>
                  </a:cubicBezTo>
                  <a:cubicBezTo>
                    <a:pt x="270" y="9"/>
                    <a:pt x="270" y="9"/>
                    <a:pt x="270" y="9"/>
                  </a:cubicBezTo>
                  <a:cubicBezTo>
                    <a:pt x="8" y="9"/>
                    <a:pt x="8" y="9"/>
                    <a:pt x="8" y="9"/>
                  </a:cubicBezTo>
                  <a:lnTo>
                    <a:pt x="8" y="21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6" name="Freeform 155">
              <a:extLst>
                <a:ext uri="{FF2B5EF4-FFF2-40B4-BE49-F238E27FC236}">
                  <a16:creationId xmlns:a16="http://schemas.microsoft.com/office/drawing/2014/main" id="{5CDADA5B-DDBF-8BAD-150C-D91F3B9B4E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8922571" y="5304120"/>
              <a:ext cx="701132" cy="126368"/>
            </a:xfrm>
            <a:custGeom>
              <a:avLst/>
              <a:gdLst>
                <a:gd name="T0" fmla="*/ 274 w 278"/>
                <a:gd name="T1" fmla="*/ 50 h 50"/>
                <a:gd name="T2" fmla="*/ 4 w 278"/>
                <a:gd name="T3" fmla="*/ 50 h 50"/>
                <a:gd name="T4" fmla="*/ 0 w 278"/>
                <a:gd name="T5" fmla="*/ 46 h 50"/>
                <a:gd name="T6" fmla="*/ 0 w 278"/>
                <a:gd name="T7" fmla="*/ 4 h 50"/>
                <a:gd name="T8" fmla="*/ 4 w 278"/>
                <a:gd name="T9" fmla="*/ 0 h 50"/>
                <a:gd name="T10" fmla="*/ 274 w 278"/>
                <a:gd name="T11" fmla="*/ 0 h 50"/>
                <a:gd name="T12" fmla="*/ 278 w 278"/>
                <a:gd name="T13" fmla="*/ 4 h 50"/>
                <a:gd name="T14" fmla="*/ 278 w 278"/>
                <a:gd name="T15" fmla="*/ 46 h 50"/>
                <a:gd name="T16" fmla="*/ 274 w 278"/>
                <a:gd name="T17" fmla="*/ 50 h 50"/>
                <a:gd name="T18" fmla="*/ 8 w 278"/>
                <a:gd name="T19" fmla="*/ 42 h 50"/>
                <a:gd name="T20" fmla="*/ 270 w 278"/>
                <a:gd name="T21" fmla="*/ 42 h 50"/>
                <a:gd name="T22" fmla="*/ 270 w 278"/>
                <a:gd name="T23" fmla="*/ 9 h 50"/>
                <a:gd name="T24" fmla="*/ 8 w 278"/>
                <a:gd name="T25" fmla="*/ 9 h 50"/>
                <a:gd name="T26" fmla="*/ 8 w 278"/>
                <a:gd name="T27" fmla="*/ 42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8" h="50">
                  <a:moveTo>
                    <a:pt x="274" y="50"/>
                  </a:moveTo>
                  <a:cubicBezTo>
                    <a:pt x="4" y="50"/>
                    <a:pt x="4" y="50"/>
                    <a:pt x="4" y="50"/>
                  </a:cubicBezTo>
                  <a:cubicBezTo>
                    <a:pt x="2" y="50"/>
                    <a:pt x="0" y="49"/>
                    <a:pt x="0" y="4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74" y="0"/>
                    <a:pt x="274" y="0"/>
                    <a:pt x="274" y="0"/>
                  </a:cubicBezTo>
                  <a:cubicBezTo>
                    <a:pt x="276" y="0"/>
                    <a:pt x="278" y="2"/>
                    <a:pt x="278" y="4"/>
                  </a:cubicBezTo>
                  <a:cubicBezTo>
                    <a:pt x="278" y="46"/>
                    <a:pt x="278" y="46"/>
                    <a:pt x="278" y="46"/>
                  </a:cubicBezTo>
                  <a:cubicBezTo>
                    <a:pt x="278" y="49"/>
                    <a:pt x="276" y="50"/>
                    <a:pt x="274" y="50"/>
                  </a:cubicBezTo>
                  <a:close/>
                  <a:moveTo>
                    <a:pt x="8" y="42"/>
                  </a:moveTo>
                  <a:cubicBezTo>
                    <a:pt x="270" y="42"/>
                    <a:pt x="270" y="42"/>
                    <a:pt x="270" y="42"/>
                  </a:cubicBezTo>
                  <a:cubicBezTo>
                    <a:pt x="270" y="9"/>
                    <a:pt x="270" y="9"/>
                    <a:pt x="270" y="9"/>
                  </a:cubicBezTo>
                  <a:cubicBezTo>
                    <a:pt x="8" y="9"/>
                    <a:pt x="8" y="9"/>
                    <a:pt x="8" y="9"/>
                  </a:cubicBezTo>
                  <a:lnTo>
                    <a:pt x="8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7" name="Freeform 156">
              <a:extLst>
                <a:ext uri="{FF2B5EF4-FFF2-40B4-BE49-F238E27FC236}">
                  <a16:creationId xmlns:a16="http://schemas.microsoft.com/office/drawing/2014/main" id="{59BE76BD-608C-E50A-EA08-D12F2558732F}"/>
                </a:ext>
              </a:extLst>
            </p:cNvPr>
            <p:cNvSpPr>
              <a:spLocks/>
            </p:cNvSpPr>
            <p:nvPr/>
          </p:nvSpPr>
          <p:spPr bwMode="auto">
            <a:xfrm>
              <a:off x="-8869580" y="5357113"/>
              <a:ext cx="20383" cy="24458"/>
            </a:xfrm>
            <a:custGeom>
              <a:avLst/>
              <a:gdLst>
                <a:gd name="T0" fmla="*/ 4 w 8"/>
                <a:gd name="T1" fmla="*/ 9 h 9"/>
                <a:gd name="T2" fmla="*/ 1 w 8"/>
                <a:gd name="T3" fmla="*/ 7 h 9"/>
                <a:gd name="T4" fmla="*/ 0 w 8"/>
                <a:gd name="T5" fmla="*/ 4 h 9"/>
                <a:gd name="T6" fmla="*/ 0 w 8"/>
                <a:gd name="T7" fmla="*/ 4 h 9"/>
                <a:gd name="T8" fmla="*/ 0 w 8"/>
                <a:gd name="T9" fmla="*/ 3 h 9"/>
                <a:gd name="T10" fmla="*/ 1 w 8"/>
                <a:gd name="T11" fmla="*/ 2 h 9"/>
                <a:gd name="T12" fmla="*/ 1 w 8"/>
                <a:gd name="T13" fmla="*/ 1 h 9"/>
                <a:gd name="T14" fmla="*/ 7 w 8"/>
                <a:gd name="T15" fmla="*/ 1 h 9"/>
                <a:gd name="T16" fmla="*/ 8 w 8"/>
                <a:gd name="T17" fmla="*/ 4 h 9"/>
                <a:gd name="T18" fmla="*/ 7 w 8"/>
                <a:gd name="T19" fmla="*/ 7 h 9"/>
                <a:gd name="T20" fmla="*/ 4 w 8"/>
                <a:gd name="T2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3" y="9"/>
                    <a:pt x="2" y="8"/>
                    <a:pt x="1" y="7"/>
                  </a:cubicBezTo>
                  <a:cubicBezTo>
                    <a:pt x="0" y="7"/>
                    <a:pt x="0" y="5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2"/>
                    <a:pt x="1" y="2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3" y="0"/>
                    <a:pt x="5" y="0"/>
                    <a:pt x="7" y="1"/>
                  </a:cubicBezTo>
                  <a:cubicBezTo>
                    <a:pt x="8" y="2"/>
                    <a:pt x="8" y="3"/>
                    <a:pt x="8" y="4"/>
                  </a:cubicBezTo>
                  <a:cubicBezTo>
                    <a:pt x="8" y="5"/>
                    <a:pt x="8" y="7"/>
                    <a:pt x="7" y="7"/>
                  </a:cubicBezTo>
                  <a:cubicBezTo>
                    <a:pt x="6" y="8"/>
                    <a:pt x="5" y="9"/>
                    <a:pt x="4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8" name="Freeform 157">
              <a:extLst>
                <a:ext uri="{FF2B5EF4-FFF2-40B4-BE49-F238E27FC236}">
                  <a16:creationId xmlns:a16="http://schemas.microsoft.com/office/drawing/2014/main" id="{09F3BB3C-ABBD-D40A-7EF5-0A44F207B81E}"/>
                </a:ext>
              </a:extLst>
            </p:cNvPr>
            <p:cNvSpPr>
              <a:spLocks/>
            </p:cNvSpPr>
            <p:nvPr/>
          </p:nvSpPr>
          <p:spPr bwMode="auto">
            <a:xfrm>
              <a:off x="-8788053" y="5357113"/>
              <a:ext cx="20383" cy="24458"/>
            </a:xfrm>
            <a:custGeom>
              <a:avLst/>
              <a:gdLst>
                <a:gd name="T0" fmla="*/ 4 w 8"/>
                <a:gd name="T1" fmla="*/ 9 h 9"/>
                <a:gd name="T2" fmla="*/ 1 w 8"/>
                <a:gd name="T3" fmla="*/ 7 h 9"/>
                <a:gd name="T4" fmla="*/ 0 w 8"/>
                <a:gd name="T5" fmla="*/ 4 h 9"/>
                <a:gd name="T6" fmla="*/ 1 w 8"/>
                <a:gd name="T7" fmla="*/ 1 h 9"/>
                <a:gd name="T8" fmla="*/ 7 w 8"/>
                <a:gd name="T9" fmla="*/ 1 h 9"/>
                <a:gd name="T10" fmla="*/ 8 w 8"/>
                <a:gd name="T11" fmla="*/ 4 h 9"/>
                <a:gd name="T12" fmla="*/ 7 w 8"/>
                <a:gd name="T13" fmla="*/ 7 h 9"/>
                <a:gd name="T14" fmla="*/ 4 w 8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3" y="9"/>
                    <a:pt x="2" y="8"/>
                    <a:pt x="1" y="7"/>
                  </a:cubicBezTo>
                  <a:cubicBezTo>
                    <a:pt x="1" y="7"/>
                    <a:pt x="0" y="5"/>
                    <a:pt x="0" y="4"/>
                  </a:cubicBezTo>
                  <a:cubicBezTo>
                    <a:pt x="0" y="3"/>
                    <a:pt x="1" y="2"/>
                    <a:pt x="1" y="1"/>
                  </a:cubicBezTo>
                  <a:cubicBezTo>
                    <a:pt x="3" y="0"/>
                    <a:pt x="6" y="0"/>
                    <a:pt x="7" y="1"/>
                  </a:cubicBezTo>
                  <a:cubicBezTo>
                    <a:pt x="8" y="2"/>
                    <a:pt x="8" y="3"/>
                    <a:pt x="8" y="4"/>
                  </a:cubicBezTo>
                  <a:cubicBezTo>
                    <a:pt x="8" y="5"/>
                    <a:pt x="8" y="7"/>
                    <a:pt x="7" y="7"/>
                  </a:cubicBezTo>
                  <a:cubicBezTo>
                    <a:pt x="6" y="8"/>
                    <a:pt x="5" y="9"/>
                    <a:pt x="4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9" name="Freeform 158">
              <a:extLst>
                <a:ext uri="{FF2B5EF4-FFF2-40B4-BE49-F238E27FC236}">
                  <a16:creationId xmlns:a16="http://schemas.microsoft.com/office/drawing/2014/main" id="{4B946619-C970-F543-5B42-D3AFF881D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-8824739" y="5357113"/>
              <a:ext cx="20383" cy="24458"/>
            </a:xfrm>
            <a:custGeom>
              <a:avLst/>
              <a:gdLst>
                <a:gd name="T0" fmla="*/ 4 w 8"/>
                <a:gd name="T1" fmla="*/ 9 h 9"/>
                <a:gd name="T2" fmla="*/ 1 w 8"/>
                <a:gd name="T3" fmla="*/ 7 h 9"/>
                <a:gd name="T4" fmla="*/ 0 w 8"/>
                <a:gd name="T5" fmla="*/ 4 h 9"/>
                <a:gd name="T6" fmla="*/ 0 w 8"/>
                <a:gd name="T7" fmla="*/ 4 h 9"/>
                <a:gd name="T8" fmla="*/ 0 w 8"/>
                <a:gd name="T9" fmla="*/ 3 h 9"/>
                <a:gd name="T10" fmla="*/ 0 w 8"/>
                <a:gd name="T11" fmla="*/ 2 h 9"/>
                <a:gd name="T12" fmla="*/ 1 w 8"/>
                <a:gd name="T13" fmla="*/ 1 h 9"/>
                <a:gd name="T14" fmla="*/ 7 w 8"/>
                <a:gd name="T15" fmla="*/ 1 h 9"/>
                <a:gd name="T16" fmla="*/ 8 w 8"/>
                <a:gd name="T17" fmla="*/ 4 h 9"/>
                <a:gd name="T18" fmla="*/ 7 w 8"/>
                <a:gd name="T19" fmla="*/ 7 h 9"/>
                <a:gd name="T20" fmla="*/ 4 w 8"/>
                <a:gd name="T2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3" y="9"/>
                    <a:pt x="2" y="8"/>
                    <a:pt x="1" y="7"/>
                  </a:cubicBezTo>
                  <a:cubicBezTo>
                    <a:pt x="0" y="7"/>
                    <a:pt x="0" y="5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2"/>
                    <a:pt x="1" y="2"/>
                    <a:pt x="1" y="1"/>
                  </a:cubicBezTo>
                  <a:cubicBezTo>
                    <a:pt x="2" y="0"/>
                    <a:pt x="5" y="0"/>
                    <a:pt x="7" y="1"/>
                  </a:cubicBezTo>
                  <a:cubicBezTo>
                    <a:pt x="7" y="2"/>
                    <a:pt x="8" y="3"/>
                    <a:pt x="8" y="4"/>
                  </a:cubicBezTo>
                  <a:cubicBezTo>
                    <a:pt x="8" y="5"/>
                    <a:pt x="7" y="7"/>
                    <a:pt x="7" y="7"/>
                  </a:cubicBezTo>
                  <a:cubicBezTo>
                    <a:pt x="6" y="8"/>
                    <a:pt x="5" y="9"/>
                    <a:pt x="4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0" name="Freeform 159">
              <a:extLst>
                <a:ext uri="{FF2B5EF4-FFF2-40B4-BE49-F238E27FC236}">
                  <a16:creationId xmlns:a16="http://schemas.microsoft.com/office/drawing/2014/main" id="{0D330FB9-0606-CAC7-8AEA-41EC1D9100A8}"/>
                </a:ext>
              </a:extLst>
            </p:cNvPr>
            <p:cNvSpPr>
              <a:spLocks/>
            </p:cNvSpPr>
            <p:nvPr/>
          </p:nvSpPr>
          <p:spPr bwMode="auto">
            <a:xfrm>
              <a:off x="-8841044" y="5499784"/>
              <a:ext cx="289422" cy="20383"/>
            </a:xfrm>
            <a:custGeom>
              <a:avLst/>
              <a:gdLst>
                <a:gd name="T0" fmla="*/ 111 w 115"/>
                <a:gd name="T1" fmla="*/ 8 h 8"/>
                <a:gd name="T2" fmla="*/ 5 w 115"/>
                <a:gd name="T3" fmla="*/ 8 h 8"/>
                <a:gd name="T4" fmla="*/ 0 w 115"/>
                <a:gd name="T5" fmla="*/ 4 h 8"/>
                <a:gd name="T6" fmla="*/ 5 w 115"/>
                <a:gd name="T7" fmla="*/ 0 h 8"/>
                <a:gd name="T8" fmla="*/ 111 w 115"/>
                <a:gd name="T9" fmla="*/ 0 h 8"/>
                <a:gd name="T10" fmla="*/ 115 w 115"/>
                <a:gd name="T11" fmla="*/ 4 h 8"/>
                <a:gd name="T12" fmla="*/ 111 w 115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5" h="8">
                  <a:moveTo>
                    <a:pt x="111" y="8"/>
                  </a:moveTo>
                  <a:cubicBezTo>
                    <a:pt x="5" y="8"/>
                    <a:pt x="5" y="8"/>
                    <a:pt x="5" y="8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3" y="0"/>
                    <a:pt x="115" y="2"/>
                    <a:pt x="115" y="4"/>
                  </a:cubicBezTo>
                  <a:cubicBezTo>
                    <a:pt x="115" y="7"/>
                    <a:pt x="113" y="8"/>
                    <a:pt x="11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1" name="Freeform 160">
              <a:extLst>
                <a:ext uri="{FF2B5EF4-FFF2-40B4-BE49-F238E27FC236}">
                  <a16:creationId xmlns:a16="http://schemas.microsoft.com/office/drawing/2014/main" id="{5771AE13-FE53-4E15-BDBD-A211E3DB5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-8841044" y="5581311"/>
              <a:ext cx="529925" cy="24458"/>
            </a:xfrm>
            <a:custGeom>
              <a:avLst/>
              <a:gdLst>
                <a:gd name="T0" fmla="*/ 205 w 209"/>
                <a:gd name="T1" fmla="*/ 9 h 9"/>
                <a:gd name="T2" fmla="*/ 5 w 209"/>
                <a:gd name="T3" fmla="*/ 9 h 9"/>
                <a:gd name="T4" fmla="*/ 0 w 209"/>
                <a:gd name="T5" fmla="*/ 5 h 9"/>
                <a:gd name="T6" fmla="*/ 5 w 209"/>
                <a:gd name="T7" fmla="*/ 0 h 9"/>
                <a:gd name="T8" fmla="*/ 205 w 209"/>
                <a:gd name="T9" fmla="*/ 0 h 9"/>
                <a:gd name="T10" fmla="*/ 209 w 209"/>
                <a:gd name="T11" fmla="*/ 5 h 9"/>
                <a:gd name="T12" fmla="*/ 205 w 209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9" h="9">
                  <a:moveTo>
                    <a:pt x="205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205" y="0"/>
                    <a:pt x="205" y="0"/>
                    <a:pt x="205" y="0"/>
                  </a:cubicBezTo>
                  <a:cubicBezTo>
                    <a:pt x="207" y="0"/>
                    <a:pt x="209" y="2"/>
                    <a:pt x="209" y="5"/>
                  </a:cubicBezTo>
                  <a:cubicBezTo>
                    <a:pt x="209" y="7"/>
                    <a:pt x="207" y="9"/>
                    <a:pt x="205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2" name="Freeform 161">
              <a:extLst>
                <a:ext uri="{FF2B5EF4-FFF2-40B4-BE49-F238E27FC236}">
                  <a16:creationId xmlns:a16="http://schemas.microsoft.com/office/drawing/2014/main" id="{2577D2F3-163C-D29D-FF72-7AD78A77EB56}"/>
                </a:ext>
              </a:extLst>
            </p:cNvPr>
            <p:cNvSpPr>
              <a:spLocks/>
            </p:cNvSpPr>
            <p:nvPr/>
          </p:nvSpPr>
          <p:spPr bwMode="auto">
            <a:xfrm>
              <a:off x="-8841044" y="5666916"/>
              <a:ext cx="529925" cy="20383"/>
            </a:xfrm>
            <a:custGeom>
              <a:avLst/>
              <a:gdLst>
                <a:gd name="T0" fmla="*/ 205 w 209"/>
                <a:gd name="T1" fmla="*/ 8 h 8"/>
                <a:gd name="T2" fmla="*/ 5 w 209"/>
                <a:gd name="T3" fmla="*/ 8 h 8"/>
                <a:gd name="T4" fmla="*/ 0 w 209"/>
                <a:gd name="T5" fmla="*/ 4 h 8"/>
                <a:gd name="T6" fmla="*/ 5 w 209"/>
                <a:gd name="T7" fmla="*/ 0 h 8"/>
                <a:gd name="T8" fmla="*/ 205 w 209"/>
                <a:gd name="T9" fmla="*/ 0 h 8"/>
                <a:gd name="T10" fmla="*/ 209 w 209"/>
                <a:gd name="T11" fmla="*/ 4 h 8"/>
                <a:gd name="T12" fmla="*/ 205 w 209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9" h="8">
                  <a:moveTo>
                    <a:pt x="205" y="8"/>
                  </a:moveTo>
                  <a:cubicBezTo>
                    <a:pt x="5" y="8"/>
                    <a:pt x="5" y="8"/>
                    <a:pt x="5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205" y="0"/>
                    <a:pt x="205" y="0"/>
                    <a:pt x="205" y="0"/>
                  </a:cubicBezTo>
                  <a:cubicBezTo>
                    <a:pt x="207" y="0"/>
                    <a:pt x="209" y="2"/>
                    <a:pt x="209" y="4"/>
                  </a:cubicBezTo>
                  <a:cubicBezTo>
                    <a:pt x="209" y="6"/>
                    <a:pt x="207" y="8"/>
                    <a:pt x="205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3" name="Freeform 162">
              <a:extLst>
                <a:ext uri="{FF2B5EF4-FFF2-40B4-BE49-F238E27FC236}">
                  <a16:creationId xmlns:a16="http://schemas.microsoft.com/office/drawing/2014/main" id="{D06F80DE-EB88-CF4D-3897-1AE664C68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-8669837" y="5752518"/>
              <a:ext cx="358719" cy="20383"/>
            </a:xfrm>
            <a:custGeom>
              <a:avLst/>
              <a:gdLst>
                <a:gd name="T0" fmla="*/ 138 w 142"/>
                <a:gd name="T1" fmla="*/ 8 h 8"/>
                <a:gd name="T2" fmla="*/ 4 w 142"/>
                <a:gd name="T3" fmla="*/ 8 h 8"/>
                <a:gd name="T4" fmla="*/ 0 w 142"/>
                <a:gd name="T5" fmla="*/ 4 h 8"/>
                <a:gd name="T6" fmla="*/ 4 w 142"/>
                <a:gd name="T7" fmla="*/ 0 h 8"/>
                <a:gd name="T8" fmla="*/ 138 w 142"/>
                <a:gd name="T9" fmla="*/ 0 h 8"/>
                <a:gd name="T10" fmla="*/ 142 w 142"/>
                <a:gd name="T11" fmla="*/ 4 h 8"/>
                <a:gd name="T12" fmla="*/ 138 w 142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2" h="8">
                  <a:moveTo>
                    <a:pt x="138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0" y="0"/>
                    <a:pt x="142" y="2"/>
                    <a:pt x="142" y="4"/>
                  </a:cubicBezTo>
                  <a:cubicBezTo>
                    <a:pt x="142" y="6"/>
                    <a:pt x="140" y="8"/>
                    <a:pt x="13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9" name="Shape19_20200717_154352">
            <a:extLst>
              <a:ext uri="{FF2B5EF4-FFF2-40B4-BE49-F238E27FC236}">
                <a16:creationId xmlns:a16="http://schemas.microsoft.com/office/drawing/2014/main" id="{85B5CEB6-589C-E46B-A624-7A3940B021AD}"/>
              </a:ext>
            </a:extLst>
          </p:cNvPr>
          <p:cNvGrpSpPr>
            <a:grpSpLocks noChangeAspect="1"/>
          </p:cNvGrpSpPr>
          <p:nvPr/>
        </p:nvGrpSpPr>
        <p:grpSpPr>
          <a:xfrm>
            <a:off x="1961738" y="2546354"/>
            <a:ext cx="476935" cy="570689"/>
            <a:chOff x="-3431731" y="2430296"/>
            <a:chExt cx="476935" cy="570689"/>
          </a:xfrm>
          <a:solidFill>
            <a:schemeClr val="accent1"/>
          </a:solidFill>
        </p:grpSpPr>
        <p:sp>
          <p:nvSpPr>
            <p:cNvPr id="135" name="Freeform 163">
              <a:extLst>
                <a:ext uri="{FF2B5EF4-FFF2-40B4-BE49-F238E27FC236}">
                  <a16:creationId xmlns:a16="http://schemas.microsoft.com/office/drawing/2014/main" id="{EB73D32E-1565-2395-1C78-FE19AD2F35F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31731" y="2466982"/>
              <a:ext cx="52994" cy="20383"/>
            </a:xfrm>
            <a:custGeom>
              <a:avLst/>
              <a:gdLst>
                <a:gd name="T0" fmla="*/ 17 w 21"/>
                <a:gd name="T1" fmla="*/ 8 h 8"/>
                <a:gd name="T2" fmla="*/ 4 w 21"/>
                <a:gd name="T3" fmla="*/ 8 h 8"/>
                <a:gd name="T4" fmla="*/ 0 w 21"/>
                <a:gd name="T5" fmla="*/ 4 h 8"/>
                <a:gd name="T6" fmla="*/ 4 w 21"/>
                <a:gd name="T7" fmla="*/ 0 h 8"/>
                <a:gd name="T8" fmla="*/ 17 w 21"/>
                <a:gd name="T9" fmla="*/ 0 h 8"/>
                <a:gd name="T10" fmla="*/ 21 w 21"/>
                <a:gd name="T11" fmla="*/ 4 h 8"/>
                <a:gd name="T12" fmla="*/ 17 w 21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8">
                  <a:moveTo>
                    <a:pt x="17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9" y="0"/>
                    <a:pt x="21" y="2"/>
                    <a:pt x="21" y="4"/>
                  </a:cubicBezTo>
                  <a:cubicBezTo>
                    <a:pt x="21" y="6"/>
                    <a:pt x="19" y="8"/>
                    <a:pt x="17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6" name="Freeform 164">
              <a:extLst>
                <a:ext uri="{FF2B5EF4-FFF2-40B4-BE49-F238E27FC236}">
                  <a16:creationId xmlns:a16="http://schemas.microsoft.com/office/drawing/2014/main" id="{425CE586-919F-250F-44C0-BB36DFD49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31731" y="2544434"/>
              <a:ext cx="52994" cy="20383"/>
            </a:xfrm>
            <a:custGeom>
              <a:avLst/>
              <a:gdLst>
                <a:gd name="T0" fmla="*/ 17 w 21"/>
                <a:gd name="T1" fmla="*/ 9 h 9"/>
                <a:gd name="T2" fmla="*/ 4 w 21"/>
                <a:gd name="T3" fmla="*/ 9 h 9"/>
                <a:gd name="T4" fmla="*/ 0 w 21"/>
                <a:gd name="T5" fmla="*/ 4 h 9"/>
                <a:gd name="T6" fmla="*/ 4 w 21"/>
                <a:gd name="T7" fmla="*/ 0 h 9"/>
                <a:gd name="T8" fmla="*/ 17 w 21"/>
                <a:gd name="T9" fmla="*/ 0 h 9"/>
                <a:gd name="T10" fmla="*/ 21 w 21"/>
                <a:gd name="T11" fmla="*/ 4 h 9"/>
                <a:gd name="T12" fmla="*/ 17 w 21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9">
                  <a:moveTo>
                    <a:pt x="17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9" y="0"/>
                    <a:pt x="21" y="2"/>
                    <a:pt x="21" y="4"/>
                  </a:cubicBezTo>
                  <a:cubicBezTo>
                    <a:pt x="21" y="7"/>
                    <a:pt x="19" y="9"/>
                    <a:pt x="17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7" name="Freeform 165">
              <a:extLst>
                <a:ext uri="{FF2B5EF4-FFF2-40B4-BE49-F238E27FC236}">
                  <a16:creationId xmlns:a16="http://schemas.microsoft.com/office/drawing/2014/main" id="{34FF6A22-8E4F-A4E3-DAD6-3FB2BC387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31731" y="2621883"/>
              <a:ext cx="52994" cy="20383"/>
            </a:xfrm>
            <a:custGeom>
              <a:avLst/>
              <a:gdLst>
                <a:gd name="T0" fmla="*/ 17 w 21"/>
                <a:gd name="T1" fmla="*/ 8 h 8"/>
                <a:gd name="T2" fmla="*/ 4 w 21"/>
                <a:gd name="T3" fmla="*/ 8 h 8"/>
                <a:gd name="T4" fmla="*/ 0 w 21"/>
                <a:gd name="T5" fmla="*/ 4 h 8"/>
                <a:gd name="T6" fmla="*/ 4 w 21"/>
                <a:gd name="T7" fmla="*/ 0 h 8"/>
                <a:gd name="T8" fmla="*/ 17 w 21"/>
                <a:gd name="T9" fmla="*/ 0 h 8"/>
                <a:gd name="T10" fmla="*/ 21 w 21"/>
                <a:gd name="T11" fmla="*/ 4 h 8"/>
                <a:gd name="T12" fmla="*/ 17 w 21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8">
                  <a:moveTo>
                    <a:pt x="17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9" y="0"/>
                    <a:pt x="21" y="2"/>
                    <a:pt x="21" y="4"/>
                  </a:cubicBezTo>
                  <a:cubicBezTo>
                    <a:pt x="21" y="6"/>
                    <a:pt x="19" y="8"/>
                    <a:pt x="17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8" name="Freeform 166">
              <a:extLst>
                <a:ext uri="{FF2B5EF4-FFF2-40B4-BE49-F238E27FC236}">
                  <a16:creationId xmlns:a16="http://schemas.microsoft.com/office/drawing/2014/main" id="{FDE8B4CE-5CF8-2261-9C3E-B8B19E651D9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31731" y="2703410"/>
              <a:ext cx="52994" cy="20383"/>
            </a:xfrm>
            <a:custGeom>
              <a:avLst/>
              <a:gdLst>
                <a:gd name="T0" fmla="*/ 17 w 21"/>
                <a:gd name="T1" fmla="*/ 8 h 8"/>
                <a:gd name="T2" fmla="*/ 4 w 21"/>
                <a:gd name="T3" fmla="*/ 8 h 8"/>
                <a:gd name="T4" fmla="*/ 0 w 21"/>
                <a:gd name="T5" fmla="*/ 4 h 8"/>
                <a:gd name="T6" fmla="*/ 4 w 21"/>
                <a:gd name="T7" fmla="*/ 0 h 8"/>
                <a:gd name="T8" fmla="*/ 17 w 21"/>
                <a:gd name="T9" fmla="*/ 0 h 8"/>
                <a:gd name="T10" fmla="*/ 21 w 21"/>
                <a:gd name="T11" fmla="*/ 4 h 8"/>
                <a:gd name="T12" fmla="*/ 17 w 21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8">
                  <a:moveTo>
                    <a:pt x="17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9" y="0"/>
                    <a:pt x="21" y="1"/>
                    <a:pt x="21" y="4"/>
                  </a:cubicBezTo>
                  <a:cubicBezTo>
                    <a:pt x="21" y="6"/>
                    <a:pt x="19" y="8"/>
                    <a:pt x="17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9" name="Freeform 167">
              <a:extLst>
                <a:ext uri="{FF2B5EF4-FFF2-40B4-BE49-F238E27FC236}">
                  <a16:creationId xmlns:a16="http://schemas.microsoft.com/office/drawing/2014/main" id="{343115AA-3179-B1F5-A954-28D421C3A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31731" y="2780862"/>
              <a:ext cx="52994" cy="20383"/>
            </a:xfrm>
            <a:custGeom>
              <a:avLst/>
              <a:gdLst>
                <a:gd name="T0" fmla="*/ 17 w 21"/>
                <a:gd name="T1" fmla="*/ 8 h 8"/>
                <a:gd name="T2" fmla="*/ 4 w 21"/>
                <a:gd name="T3" fmla="*/ 8 h 8"/>
                <a:gd name="T4" fmla="*/ 0 w 21"/>
                <a:gd name="T5" fmla="*/ 4 h 8"/>
                <a:gd name="T6" fmla="*/ 4 w 21"/>
                <a:gd name="T7" fmla="*/ 0 h 8"/>
                <a:gd name="T8" fmla="*/ 17 w 21"/>
                <a:gd name="T9" fmla="*/ 0 h 8"/>
                <a:gd name="T10" fmla="*/ 21 w 21"/>
                <a:gd name="T11" fmla="*/ 4 h 8"/>
                <a:gd name="T12" fmla="*/ 17 w 21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8">
                  <a:moveTo>
                    <a:pt x="17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9" y="0"/>
                    <a:pt x="21" y="2"/>
                    <a:pt x="21" y="4"/>
                  </a:cubicBezTo>
                  <a:cubicBezTo>
                    <a:pt x="21" y="7"/>
                    <a:pt x="19" y="8"/>
                    <a:pt x="17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0" name="Freeform 168">
              <a:extLst>
                <a:ext uri="{FF2B5EF4-FFF2-40B4-BE49-F238E27FC236}">
                  <a16:creationId xmlns:a16="http://schemas.microsoft.com/office/drawing/2014/main" id="{3FC67C74-149E-39CE-2EF2-1670A8091594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31731" y="2862389"/>
              <a:ext cx="52994" cy="20383"/>
            </a:xfrm>
            <a:custGeom>
              <a:avLst/>
              <a:gdLst>
                <a:gd name="T0" fmla="*/ 17 w 21"/>
                <a:gd name="T1" fmla="*/ 8 h 8"/>
                <a:gd name="T2" fmla="*/ 4 w 21"/>
                <a:gd name="T3" fmla="*/ 8 h 8"/>
                <a:gd name="T4" fmla="*/ 0 w 21"/>
                <a:gd name="T5" fmla="*/ 4 h 8"/>
                <a:gd name="T6" fmla="*/ 4 w 21"/>
                <a:gd name="T7" fmla="*/ 0 h 8"/>
                <a:gd name="T8" fmla="*/ 17 w 21"/>
                <a:gd name="T9" fmla="*/ 0 h 8"/>
                <a:gd name="T10" fmla="*/ 21 w 21"/>
                <a:gd name="T11" fmla="*/ 4 h 8"/>
                <a:gd name="T12" fmla="*/ 17 w 21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8">
                  <a:moveTo>
                    <a:pt x="17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9" y="0"/>
                    <a:pt x="21" y="2"/>
                    <a:pt x="21" y="4"/>
                  </a:cubicBezTo>
                  <a:cubicBezTo>
                    <a:pt x="21" y="6"/>
                    <a:pt x="19" y="8"/>
                    <a:pt x="17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1" name="Freeform 169">
              <a:extLst>
                <a:ext uri="{FF2B5EF4-FFF2-40B4-BE49-F238E27FC236}">
                  <a16:creationId xmlns:a16="http://schemas.microsoft.com/office/drawing/2014/main" id="{6B15C908-5D00-6394-E8DA-8D5C40873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31731" y="2939838"/>
              <a:ext cx="52994" cy="24458"/>
            </a:xfrm>
            <a:custGeom>
              <a:avLst/>
              <a:gdLst>
                <a:gd name="T0" fmla="*/ 17 w 21"/>
                <a:gd name="T1" fmla="*/ 9 h 9"/>
                <a:gd name="T2" fmla="*/ 4 w 21"/>
                <a:gd name="T3" fmla="*/ 9 h 9"/>
                <a:gd name="T4" fmla="*/ 0 w 21"/>
                <a:gd name="T5" fmla="*/ 5 h 9"/>
                <a:gd name="T6" fmla="*/ 4 w 21"/>
                <a:gd name="T7" fmla="*/ 0 h 9"/>
                <a:gd name="T8" fmla="*/ 17 w 21"/>
                <a:gd name="T9" fmla="*/ 0 h 9"/>
                <a:gd name="T10" fmla="*/ 21 w 21"/>
                <a:gd name="T11" fmla="*/ 5 h 9"/>
                <a:gd name="T12" fmla="*/ 17 w 21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9">
                  <a:moveTo>
                    <a:pt x="17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9" y="0"/>
                    <a:pt x="21" y="2"/>
                    <a:pt x="21" y="5"/>
                  </a:cubicBezTo>
                  <a:cubicBezTo>
                    <a:pt x="21" y="7"/>
                    <a:pt x="19" y="9"/>
                    <a:pt x="17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2" name="Freeform 170">
              <a:extLst>
                <a:ext uri="{FF2B5EF4-FFF2-40B4-BE49-F238E27FC236}">
                  <a16:creationId xmlns:a16="http://schemas.microsoft.com/office/drawing/2014/main" id="{0EABFC71-5A30-6E9B-B19B-FCF7025334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395042" y="2430296"/>
              <a:ext cx="440246" cy="570689"/>
            </a:xfrm>
            <a:custGeom>
              <a:avLst/>
              <a:gdLst>
                <a:gd name="T0" fmla="*/ 170 w 174"/>
                <a:gd name="T1" fmla="*/ 226 h 226"/>
                <a:gd name="T2" fmla="*/ 4 w 174"/>
                <a:gd name="T3" fmla="*/ 226 h 226"/>
                <a:gd name="T4" fmla="*/ 0 w 174"/>
                <a:gd name="T5" fmla="*/ 222 h 226"/>
                <a:gd name="T6" fmla="*/ 0 w 174"/>
                <a:gd name="T7" fmla="*/ 4 h 226"/>
                <a:gd name="T8" fmla="*/ 4 w 174"/>
                <a:gd name="T9" fmla="*/ 0 h 226"/>
                <a:gd name="T10" fmla="*/ 170 w 174"/>
                <a:gd name="T11" fmla="*/ 0 h 226"/>
                <a:gd name="T12" fmla="*/ 174 w 174"/>
                <a:gd name="T13" fmla="*/ 4 h 226"/>
                <a:gd name="T14" fmla="*/ 174 w 174"/>
                <a:gd name="T15" fmla="*/ 222 h 226"/>
                <a:gd name="T16" fmla="*/ 170 w 174"/>
                <a:gd name="T17" fmla="*/ 226 h 226"/>
                <a:gd name="T18" fmla="*/ 9 w 174"/>
                <a:gd name="T19" fmla="*/ 218 h 226"/>
                <a:gd name="T20" fmla="*/ 166 w 174"/>
                <a:gd name="T21" fmla="*/ 218 h 226"/>
                <a:gd name="T22" fmla="*/ 166 w 174"/>
                <a:gd name="T23" fmla="*/ 8 h 226"/>
                <a:gd name="T24" fmla="*/ 9 w 174"/>
                <a:gd name="T25" fmla="*/ 8 h 226"/>
                <a:gd name="T26" fmla="*/ 9 w 174"/>
                <a:gd name="T27" fmla="*/ 218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4" h="226">
                  <a:moveTo>
                    <a:pt x="170" y="226"/>
                  </a:moveTo>
                  <a:cubicBezTo>
                    <a:pt x="4" y="226"/>
                    <a:pt x="4" y="226"/>
                    <a:pt x="4" y="226"/>
                  </a:cubicBezTo>
                  <a:cubicBezTo>
                    <a:pt x="2" y="226"/>
                    <a:pt x="0" y="224"/>
                    <a:pt x="0" y="22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70" y="0"/>
                    <a:pt x="170" y="0"/>
                    <a:pt x="170" y="0"/>
                  </a:cubicBezTo>
                  <a:cubicBezTo>
                    <a:pt x="172" y="0"/>
                    <a:pt x="174" y="1"/>
                    <a:pt x="174" y="4"/>
                  </a:cubicBezTo>
                  <a:cubicBezTo>
                    <a:pt x="174" y="222"/>
                    <a:pt x="174" y="222"/>
                    <a:pt x="174" y="222"/>
                  </a:cubicBezTo>
                  <a:cubicBezTo>
                    <a:pt x="174" y="224"/>
                    <a:pt x="172" y="226"/>
                    <a:pt x="170" y="226"/>
                  </a:cubicBezTo>
                  <a:close/>
                  <a:moveTo>
                    <a:pt x="9" y="218"/>
                  </a:moveTo>
                  <a:cubicBezTo>
                    <a:pt x="166" y="218"/>
                    <a:pt x="166" y="218"/>
                    <a:pt x="166" y="218"/>
                  </a:cubicBezTo>
                  <a:cubicBezTo>
                    <a:pt x="166" y="8"/>
                    <a:pt x="166" y="8"/>
                    <a:pt x="166" y="8"/>
                  </a:cubicBezTo>
                  <a:cubicBezTo>
                    <a:pt x="9" y="8"/>
                    <a:pt x="9" y="8"/>
                    <a:pt x="9" y="8"/>
                  </a:cubicBezTo>
                  <a:lnTo>
                    <a:pt x="9" y="2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3" name="Freeform 171">
              <a:extLst>
                <a:ext uri="{FF2B5EF4-FFF2-40B4-BE49-F238E27FC236}">
                  <a16:creationId xmlns:a16="http://schemas.microsoft.com/office/drawing/2014/main" id="{2D105ABA-BEFA-644E-8CD7-804C9F09A7C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64599" y="2768632"/>
              <a:ext cx="179359" cy="20383"/>
            </a:xfrm>
            <a:custGeom>
              <a:avLst/>
              <a:gdLst>
                <a:gd name="T0" fmla="*/ 66 w 70"/>
                <a:gd name="T1" fmla="*/ 8 h 8"/>
                <a:gd name="T2" fmla="*/ 5 w 70"/>
                <a:gd name="T3" fmla="*/ 8 h 8"/>
                <a:gd name="T4" fmla="*/ 0 w 70"/>
                <a:gd name="T5" fmla="*/ 4 h 8"/>
                <a:gd name="T6" fmla="*/ 5 w 70"/>
                <a:gd name="T7" fmla="*/ 0 h 8"/>
                <a:gd name="T8" fmla="*/ 66 w 70"/>
                <a:gd name="T9" fmla="*/ 0 h 8"/>
                <a:gd name="T10" fmla="*/ 70 w 70"/>
                <a:gd name="T11" fmla="*/ 4 h 8"/>
                <a:gd name="T12" fmla="*/ 66 w 70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8">
                  <a:moveTo>
                    <a:pt x="66" y="8"/>
                  </a:moveTo>
                  <a:cubicBezTo>
                    <a:pt x="5" y="8"/>
                    <a:pt x="5" y="8"/>
                    <a:pt x="5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1"/>
                    <a:pt x="2" y="0"/>
                    <a:pt x="5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8" y="0"/>
                    <a:pt x="70" y="1"/>
                    <a:pt x="70" y="4"/>
                  </a:cubicBezTo>
                  <a:cubicBezTo>
                    <a:pt x="70" y="6"/>
                    <a:pt x="68" y="8"/>
                    <a:pt x="66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4" name="Freeform 172">
              <a:extLst>
                <a:ext uri="{FF2B5EF4-FFF2-40B4-BE49-F238E27FC236}">
                  <a16:creationId xmlns:a16="http://schemas.microsoft.com/office/drawing/2014/main" id="{D3EE2078-00D8-BC03-D4EA-2E7C7972409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64599" y="2850159"/>
              <a:ext cx="179359" cy="16305"/>
            </a:xfrm>
            <a:custGeom>
              <a:avLst/>
              <a:gdLst>
                <a:gd name="T0" fmla="*/ 66 w 70"/>
                <a:gd name="T1" fmla="*/ 8 h 8"/>
                <a:gd name="T2" fmla="*/ 5 w 70"/>
                <a:gd name="T3" fmla="*/ 8 h 8"/>
                <a:gd name="T4" fmla="*/ 0 w 70"/>
                <a:gd name="T5" fmla="*/ 4 h 8"/>
                <a:gd name="T6" fmla="*/ 5 w 70"/>
                <a:gd name="T7" fmla="*/ 0 h 8"/>
                <a:gd name="T8" fmla="*/ 66 w 70"/>
                <a:gd name="T9" fmla="*/ 0 h 8"/>
                <a:gd name="T10" fmla="*/ 70 w 70"/>
                <a:gd name="T11" fmla="*/ 4 h 8"/>
                <a:gd name="T12" fmla="*/ 66 w 70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8">
                  <a:moveTo>
                    <a:pt x="66" y="8"/>
                  </a:moveTo>
                  <a:cubicBezTo>
                    <a:pt x="5" y="8"/>
                    <a:pt x="5" y="8"/>
                    <a:pt x="5" y="8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8" y="0"/>
                    <a:pt x="70" y="2"/>
                    <a:pt x="70" y="4"/>
                  </a:cubicBezTo>
                  <a:cubicBezTo>
                    <a:pt x="70" y="7"/>
                    <a:pt x="68" y="8"/>
                    <a:pt x="66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0" name="Shape20_20200717_154352">
            <a:extLst>
              <a:ext uri="{FF2B5EF4-FFF2-40B4-BE49-F238E27FC236}">
                <a16:creationId xmlns:a16="http://schemas.microsoft.com/office/drawing/2014/main" id="{4CD3EFB8-E56C-14E7-1EC6-D70299ADE397}"/>
              </a:ext>
            </a:extLst>
          </p:cNvPr>
          <p:cNvGrpSpPr>
            <a:grpSpLocks noChangeAspect="1"/>
          </p:cNvGrpSpPr>
          <p:nvPr/>
        </p:nvGrpSpPr>
        <p:grpSpPr>
          <a:xfrm>
            <a:off x="3188567" y="3863847"/>
            <a:ext cx="652219" cy="550308"/>
            <a:chOff x="-6195495" y="5312272"/>
            <a:chExt cx="652219" cy="550308"/>
          </a:xfrm>
          <a:solidFill>
            <a:schemeClr val="accent1"/>
          </a:solidFill>
        </p:grpSpPr>
        <p:sp>
          <p:nvSpPr>
            <p:cNvPr id="127" name="Freeform 173">
              <a:extLst>
                <a:ext uri="{FF2B5EF4-FFF2-40B4-BE49-F238E27FC236}">
                  <a16:creationId xmlns:a16="http://schemas.microsoft.com/office/drawing/2014/main" id="{6B5DC2B9-8F73-91F1-4BCD-47A80B10F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95495" y="5312272"/>
              <a:ext cx="440246" cy="550308"/>
            </a:xfrm>
            <a:custGeom>
              <a:avLst/>
              <a:gdLst>
                <a:gd name="T0" fmla="*/ 171 w 175"/>
                <a:gd name="T1" fmla="*/ 219 h 219"/>
                <a:gd name="T2" fmla="*/ 4 w 175"/>
                <a:gd name="T3" fmla="*/ 219 h 219"/>
                <a:gd name="T4" fmla="*/ 0 w 175"/>
                <a:gd name="T5" fmla="*/ 215 h 219"/>
                <a:gd name="T6" fmla="*/ 0 w 175"/>
                <a:gd name="T7" fmla="*/ 4 h 219"/>
                <a:gd name="T8" fmla="*/ 4 w 175"/>
                <a:gd name="T9" fmla="*/ 0 h 219"/>
                <a:gd name="T10" fmla="*/ 171 w 175"/>
                <a:gd name="T11" fmla="*/ 0 h 219"/>
                <a:gd name="T12" fmla="*/ 175 w 175"/>
                <a:gd name="T13" fmla="*/ 4 h 219"/>
                <a:gd name="T14" fmla="*/ 175 w 175"/>
                <a:gd name="T15" fmla="*/ 72 h 219"/>
                <a:gd name="T16" fmla="*/ 171 w 175"/>
                <a:gd name="T17" fmla="*/ 76 h 219"/>
                <a:gd name="T18" fmla="*/ 167 w 175"/>
                <a:gd name="T19" fmla="*/ 72 h 219"/>
                <a:gd name="T20" fmla="*/ 167 w 175"/>
                <a:gd name="T21" fmla="*/ 9 h 219"/>
                <a:gd name="T22" fmla="*/ 8 w 175"/>
                <a:gd name="T23" fmla="*/ 9 h 219"/>
                <a:gd name="T24" fmla="*/ 8 w 175"/>
                <a:gd name="T25" fmla="*/ 211 h 219"/>
                <a:gd name="T26" fmla="*/ 167 w 175"/>
                <a:gd name="T27" fmla="*/ 211 h 219"/>
                <a:gd name="T28" fmla="*/ 167 w 175"/>
                <a:gd name="T29" fmla="*/ 129 h 219"/>
                <a:gd name="T30" fmla="*/ 171 w 175"/>
                <a:gd name="T31" fmla="*/ 125 h 219"/>
                <a:gd name="T32" fmla="*/ 175 w 175"/>
                <a:gd name="T33" fmla="*/ 129 h 219"/>
                <a:gd name="T34" fmla="*/ 175 w 175"/>
                <a:gd name="T35" fmla="*/ 215 h 219"/>
                <a:gd name="T36" fmla="*/ 171 w 175"/>
                <a:gd name="T37" fmla="*/ 21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5" h="219">
                  <a:moveTo>
                    <a:pt x="171" y="219"/>
                  </a:moveTo>
                  <a:cubicBezTo>
                    <a:pt x="4" y="219"/>
                    <a:pt x="4" y="219"/>
                    <a:pt x="4" y="219"/>
                  </a:cubicBezTo>
                  <a:cubicBezTo>
                    <a:pt x="2" y="219"/>
                    <a:pt x="0" y="217"/>
                    <a:pt x="0" y="21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71" y="0"/>
                    <a:pt x="171" y="0"/>
                    <a:pt x="171" y="0"/>
                  </a:cubicBezTo>
                  <a:cubicBezTo>
                    <a:pt x="174" y="0"/>
                    <a:pt x="175" y="2"/>
                    <a:pt x="175" y="4"/>
                  </a:cubicBezTo>
                  <a:cubicBezTo>
                    <a:pt x="175" y="72"/>
                    <a:pt x="175" y="72"/>
                    <a:pt x="175" y="72"/>
                  </a:cubicBezTo>
                  <a:cubicBezTo>
                    <a:pt x="175" y="74"/>
                    <a:pt x="174" y="76"/>
                    <a:pt x="171" y="76"/>
                  </a:cubicBezTo>
                  <a:cubicBezTo>
                    <a:pt x="169" y="76"/>
                    <a:pt x="167" y="74"/>
                    <a:pt x="167" y="72"/>
                  </a:cubicBezTo>
                  <a:cubicBezTo>
                    <a:pt x="167" y="9"/>
                    <a:pt x="167" y="9"/>
                    <a:pt x="167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211"/>
                    <a:pt x="8" y="211"/>
                    <a:pt x="8" y="211"/>
                  </a:cubicBezTo>
                  <a:cubicBezTo>
                    <a:pt x="167" y="211"/>
                    <a:pt x="167" y="211"/>
                    <a:pt x="167" y="211"/>
                  </a:cubicBezTo>
                  <a:cubicBezTo>
                    <a:pt x="167" y="129"/>
                    <a:pt x="167" y="129"/>
                    <a:pt x="167" y="129"/>
                  </a:cubicBezTo>
                  <a:cubicBezTo>
                    <a:pt x="167" y="126"/>
                    <a:pt x="169" y="125"/>
                    <a:pt x="171" y="125"/>
                  </a:cubicBezTo>
                  <a:cubicBezTo>
                    <a:pt x="174" y="125"/>
                    <a:pt x="175" y="126"/>
                    <a:pt x="175" y="129"/>
                  </a:cubicBezTo>
                  <a:cubicBezTo>
                    <a:pt x="175" y="215"/>
                    <a:pt x="175" y="215"/>
                    <a:pt x="175" y="215"/>
                  </a:cubicBezTo>
                  <a:cubicBezTo>
                    <a:pt x="175" y="217"/>
                    <a:pt x="174" y="219"/>
                    <a:pt x="171" y="2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8" name="Freeform 174">
              <a:extLst>
                <a:ext uri="{FF2B5EF4-FFF2-40B4-BE49-F238E27FC236}">
                  <a16:creationId xmlns:a16="http://schemas.microsoft.com/office/drawing/2014/main" id="{10A89DC8-237E-EABF-AA19-CE1419CAF9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109890" y="5450868"/>
              <a:ext cx="105985" cy="101910"/>
            </a:xfrm>
            <a:custGeom>
              <a:avLst/>
              <a:gdLst>
                <a:gd name="T0" fmla="*/ 38 w 42"/>
                <a:gd name="T1" fmla="*/ 41 h 41"/>
                <a:gd name="T2" fmla="*/ 4 w 42"/>
                <a:gd name="T3" fmla="*/ 41 h 41"/>
                <a:gd name="T4" fmla="*/ 0 w 42"/>
                <a:gd name="T5" fmla="*/ 37 h 41"/>
                <a:gd name="T6" fmla="*/ 0 w 42"/>
                <a:gd name="T7" fmla="*/ 4 h 41"/>
                <a:gd name="T8" fmla="*/ 4 w 42"/>
                <a:gd name="T9" fmla="*/ 0 h 41"/>
                <a:gd name="T10" fmla="*/ 38 w 42"/>
                <a:gd name="T11" fmla="*/ 0 h 41"/>
                <a:gd name="T12" fmla="*/ 42 w 42"/>
                <a:gd name="T13" fmla="*/ 4 h 41"/>
                <a:gd name="T14" fmla="*/ 42 w 42"/>
                <a:gd name="T15" fmla="*/ 37 h 41"/>
                <a:gd name="T16" fmla="*/ 38 w 42"/>
                <a:gd name="T17" fmla="*/ 41 h 41"/>
                <a:gd name="T18" fmla="*/ 8 w 42"/>
                <a:gd name="T19" fmla="*/ 33 h 41"/>
                <a:gd name="T20" fmla="*/ 34 w 42"/>
                <a:gd name="T21" fmla="*/ 33 h 41"/>
                <a:gd name="T22" fmla="*/ 34 w 42"/>
                <a:gd name="T23" fmla="*/ 8 h 41"/>
                <a:gd name="T24" fmla="*/ 8 w 42"/>
                <a:gd name="T25" fmla="*/ 8 h 41"/>
                <a:gd name="T26" fmla="*/ 8 w 42"/>
                <a:gd name="T27" fmla="*/ 33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2" h="41">
                  <a:moveTo>
                    <a:pt x="38" y="41"/>
                  </a:moveTo>
                  <a:cubicBezTo>
                    <a:pt x="4" y="41"/>
                    <a:pt x="4" y="41"/>
                    <a:pt x="4" y="41"/>
                  </a:cubicBezTo>
                  <a:cubicBezTo>
                    <a:pt x="2" y="41"/>
                    <a:pt x="0" y="39"/>
                    <a:pt x="0" y="3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40" y="0"/>
                    <a:pt x="42" y="2"/>
                    <a:pt x="42" y="4"/>
                  </a:cubicBezTo>
                  <a:cubicBezTo>
                    <a:pt x="42" y="37"/>
                    <a:pt x="42" y="37"/>
                    <a:pt x="42" y="37"/>
                  </a:cubicBezTo>
                  <a:cubicBezTo>
                    <a:pt x="42" y="39"/>
                    <a:pt x="40" y="41"/>
                    <a:pt x="38" y="41"/>
                  </a:cubicBezTo>
                  <a:close/>
                  <a:moveTo>
                    <a:pt x="8" y="33"/>
                  </a:moveTo>
                  <a:cubicBezTo>
                    <a:pt x="34" y="33"/>
                    <a:pt x="34" y="33"/>
                    <a:pt x="34" y="33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8" y="8"/>
                    <a:pt x="8" y="8"/>
                    <a:pt x="8" y="8"/>
                  </a:cubicBezTo>
                  <a:lnTo>
                    <a:pt x="8" y="3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9" name="Freeform 175">
              <a:extLst>
                <a:ext uri="{FF2B5EF4-FFF2-40B4-BE49-F238E27FC236}">
                  <a16:creationId xmlns:a16="http://schemas.microsoft.com/office/drawing/2014/main" id="{576FE38D-908F-B52A-C9C7-5C0633D9D0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109890" y="5622075"/>
              <a:ext cx="105985" cy="105985"/>
            </a:xfrm>
            <a:custGeom>
              <a:avLst/>
              <a:gdLst>
                <a:gd name="T0" fmla="*/ 38 w 42"/>
                <a:gd name="T1" fmla="*/ 42 h 42"/>
                <a:gd name="T2" fmla="*/ 4 w 42"/>
                <a:gd name="T3" fmla="*/ 42 h 42"/>
                <a:gd name="T4" fmla="*/ 0 w 42"/>
                <a:gd name="T5" fmla="*/ 38 h 42"/>
                <a:gd name="T6" fmla="*/ 0 w 42"/>
                <a:gd name="T7" fmla="*/ 5 h 42"/>
                <a:gd name="T8" fmla="*/ 4 w 42"/>
                <a:gd name="T9" fmla="*/ 0 h 42"/>
                <a:gd name="T10" fmla="*/ 38 w 42"/>
                <a:gd name="T11" fmla="*/ 0 h 42"/>
                <a:gd name="T12" fmla="*/ 42 w 42"/>
                <a:gd name="T13" fmla="*/ 5 h 42"/>
                <a:gd name="T14" fmla="*/ 42 w 42"/>
                <a:gd name="T15" fmla="*/ 38 h 42"/>
                <a:gd name="T16" fmla="*/ 38 w 42"/>
                <a:gd name="T17" fmla="*/ 42 h 42"/>
                <a:gd name="T18" fmla="*/ 8 w 42"/>
                <a:gd name="T19" fmla="*/ 34 h 42"/>
                <a:gd name="T20" fmla="*/ 34 w 42"/>
                <a:gd name="T21" fmla="*/ 34 h 42"/>
                <a:gd name="T22" fmla="*/ 34 w 42"/>
                <a:gd name="T23" fmla="*/ 9 h 42"/>
                <a:gd name="T24" fmla="*/ 8 w 42"/>
                <a:gd name="T25" fmla="*/ 9 h 42"/>
                <a:gd name="T26" fmla="*/ 8 w 42"/>
                <a:gd name="T27" fmla="*/ 34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2" h="42">
                  <a:moveTo>
                    <a:pt x="38" y="42"/>
                  </a:moveTo>
                  <a:cubicBezTo>
                    <a:pt x="4" y="42"/>
                    <a:pt x="4" y="42"/>
                    <a:pt x="4" y="42"/>
                  </a:cubicBezTo>
                  <a:cubicBezTo>
                    <a:pt x="2" y="42"/>
                    <a:pt x="0" y="40"/>
                    <a:pt x="0" y="38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40" y="0"/>
                    <a:pt x="42" y="2"/>
                    <a:pt x="42" y="5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42" y="40"/>
                    <a:pt x="40" y="42"/>
                    <a:pt x="38" y="42"/>
                  </a:cubicBezTo>
                  <a:close/>
                  <a:moveTo>
                    <a:pt x="8" y="34"/>
                  </a:moveTo>
                  <a:cubicBezTo>
                    <a:pt x="34" y="34"/>
                    <a:pt x="34" y="34"/>
                    <a:pt x="34" y="34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8" y="9"/>
                    <a:pt x="8" y="9"/>
                    <a:pt x="8" y="9"/>
                  </a:cubicBezTo>
                  <a:lnTo>
                    <a:pt x="8" y="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0" name="Freeform 176">
              <a:extLst>
                <a:ext uri="{FF2B5EF4-FFF2-40B4-BE49-F238E27FC236}">
                  <a16:creationId xmlns:a16="http://schemas.microsoft.com/office/drawing/2014/main" id="{DCCEE454-E28A-BED1-BF29-5BAA1A9AB4ED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67220" y="5532395"/>
              <a:ext cx="101910" cy="20383"/>
            </a:xfrm>
            <a:custGeom>
              <a:avLst/>
              <a:gdLst>
                <a:gd name="T0" fmla="*/ 36 w 40"/>
                <a:gd name="T1" fmla="*/ 8 h 8"/>
                <a:gd name="T2" fmla="*/ 4 w 40"/>
                <a:gd name="T3" fmla="*/ 8 h 8"/>
                <a:gd name="T4" fmla="*/ 0 w 40"/>
                <a:gd name="T5" fmla="*/ 4 h 8"/>
                <a:gd name="T6" fmla="*/ 4 w 40"/>
                <a:gd name="T7" fmla="*/ 0 h 8"/>
                <a:gd name="T8" fmla="*/ 36 w 40"/>
                <a:gd name="T9" fmla="*/ 0 h 8"/>
                <a:gd name="T10" fmla="*/ 40 w 40"/>
                <a:gd name="T11" fmla="*/ 4 h 8"/>
                <a:gd name="T12" fmla="*/ 36 w 40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8">
                  <a:moveTo>
                    <a:pt x="36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8" y="0"/>
                    <a:pt x="40" y="2"/>
                    <a:pt x="40" y="4"/>
                  </a:cubicBezTo>
                  <a:cubicBezTo>
                    <a:pt x="40" y="6"/>
                    <a:pt x="38" y="8"/>
                    <a:pt x="36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1" name="Freeform 177">
              <a:extLst>
                <a:ext uri="{FF2B5EF4-FFF2-40B4-BE49-F238E27FC236}">
                  <a16:creationId xmlns:a16="http://schemas.microsoft.com/office/drawing/2014/main" id="{FA1FB7F5-98F5-0976-C53A-135BC698BC84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67220" y="5707679"/>
              <a:ext cx="101910" cy="20383"/>
            </a:xfrm>
            <a:custGeom>
              <a:avLst/>
              <a:gdLst>
                <a:gd name="T0" fmla="*/ 36 w 40"/>
                <a:gd name="T1" fmla="*/ 8 h 8"/>
                <a:gd name="T2" fmla="*/ 4 w 40"/>
                <a:gd name="T3" fmla="*/ 8 h 8"/>
                <a:gd name="T4" fmla="*/ 0 w 40"/>
                <a:gd name="T5" fmla="*/ 4 h 8"/>
                <a:gd name="T6" fmla="*/ 4 w 40"/>
                <a:gd name="T7" fmla="*/ 0 h 8"/>
                <a:gd name="T8" fmla="*/ 36 w 40"/>
                <a:gd name="T9" fmla="*/ 0 h 8"/>
                <a:gd name="T10" fmla="*/ 40 w 40"/>
                <a:gd name="T11" fmla="*/ 4 h 8"/>
                <a:gd name="T12" fmla="*/ 36 w 40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8">
                  <a:moveTo>
                    <a:pt x="36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8" y="0"/>
                    <a:pt x="40" y="1"/>
                    <a:pt x="40" y="4"/>
                  </a:cubicBezTo>
                  <a:cubicBezTo>
                    <a:pt x="40" y="6"/>
                    <a:pt x="38" y="8"/>
                    <a:pt x="36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2" name="Freeform 178">
              <a:extLst>
                <a:ext uri="{FF2B5EF4-FFF2-40B4-BE49-F238E27FC236}">
                  <a16:creationId xmlns:a16="http://schemas.microsoft.com/office/drawing/2014/main" id="{B9D0B5B4-D9F4-3A87-387B-E567E66087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889768" y="5389724"/>
              <a:ext cx="297575" cy="293497"/>
            </a:xfrm>
            <a:custGeom>
              <a:avLst/>
              <a:gdLst>
                <a:gd name="T0" fmla="*/ 5 w 118"/>
                <a:gd name="T1" fmla="*/ 117 h 117"/>
                <a:gd name="T2" fmla="*/ 2 w 118"/>
                <a:gd name="T3" fmla="*/ 116 h 117"/>
                <a:gd name="T4" fmla="*/ 1 w 118"/>
                <a:gd name="T5" fmla="*/ 112 h 117"/>
                <a:gd name="T6" fmla="*/ 11 w 118"/>
                <a:gd name="T7" fmla="*/ 78 h 117"/>
                <a:gd name="T8" fmla="*/ 12 w 118"/>
                <a:gd name="T9" fmla="*/ 76 h 117"/>
                <a:gd name="T10" fmla="*/ 86 w 118"/>
                <a:gd name="T11" fmla="*/ 1 h 117"/>
                <a:gd name="T12" fmla="*/ 92 w 118"/>
                <a:gd name="T13" fmla="*/ 1 h 117"/>
                <a:gd name="T14" fmla="*/ 117 w 118"/>
                <a:gd name="T15" fmla="*/ 26 h 117"/>
                <a:gd name="T16" fmla="*/ 118 w 118"/>
                <a:gd name="T17" fmla="*/ 29 h 117"/>
                <a:gd name="T18" fmla="*/ 117 w 118"/>
                <a:gd name="T19" fmla="*/ 32 h 117"/>
                <a:gd name="T20" fmla="*/ 42 w 118"/>
                <a:gd name="T21" fmla="*/ 106 h 117"/>
                <a:gd name="T22" fmla="*/ 40 w 118"/>
                <a:gd name="T23" fmla="*/ 107 h 117"/>
                <a:gd name="T24" fmla="*/ 6 w 118"/>
                <a:gd name="T25" fmla="*/ 117 h 117"/>
                <a:gd name="T26" fmla="*/ 5 w 118"/>
                <a:gd name="T27" fmla="*/ 117 h 117"/>
                <a:gd name="T28" fmla="*/ 18 w 118"/>
                <a:gd name="T29" fmla="*/ 81 h 117"/>
                <a:gd name="T30" fmla="*/ 11 w 118"/>
                <a:gd name="T31" fmla="*/ 107 h 117"/>
                <a:gd name="T32" fmla="*/ 37 w 118"/>
                <a:gd name="T33" fmla="*/ 100 h 117"/>
                <a:gd name="T34" fmla="*/ 108 w 118"/>
                <a:gd name="T35" fmla="*/ 29 h 117"/>
                <a:gd name="T36" fmla="*/ 89 w 118"/>
                <a:gd name="T37" fmla="*/ 10 h 117"/>
                <a:gd name="T38" fmla="*/ 18 w 118"/>
                <a:gd name="T39" fmla="*/ 81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8" h="117">
                  <a:moveTo>
                    <a:pt x="5" y="117"/>
                  </a:moveTo>
                  <a:cubicBezTo>
                    <a:pt x="4" y="117"/>
                    <a:pt x="3" y="117"/>
                    <a:pt x="2" y="116"/>
                  </a:cubicBezTo>
                  <a:cubicBezTo>
                    <a:pt x="1" y="115"/>
                    <a:pt x="0" y="114"/>
                    <a:pt x="1" y="112"/>
                  </a:cubicBezTo>
                  <a:cubicBezTo>
                    <a:pt x="11" y="78"/>
                    <a:pt x="11" y="78"/>
                    <a:pt x="11" y="78"/>
                  </a:cubicBezTo>
                  <a:cubicBezTo>
                    <a:pt x="11" y="77"/>
                    <a:pt x="11" y="76"/>
                    <a:pt x="12" y="76"/>
                  </a:cubicBezTo>
                  <a:cubicBezTo>
                    <a:pt x="86" y="1"/>
                    <a:pt x="86" y="1"/>
                    <a:pt x="86" y="1"/>
                  </a:cubicBezTo>
                  <a:cubicBezTo>
                    <a:pt x="88" y="0"/>
                    <a:pt x="91" y="0"/>
                    <a:pt x="92" y="1"/>
                  </a:cubicBezTo>
                  <a:cubicBezTo>
                    <a:pt x="117" y="26"/>
                    <a:pt x="117" y="26"/>
                    <a:pt x="117" y="26"/>
                  </a:cubicBezTo>
                  <a:cubicBezTo>
                    <a:pt x="118" y="27"/>
                    <a:pt x="118" y="28"/>
                    <a:pt x="118" y="29"/>
                  </a:cubicBezTo>
                  <a:cubicBezTo>
                    <a:pt x="118" y="30"/>
                    <a:pt x="118" y="31"/>
                    <a:pt x="117" y="32"/>
                  </a:cubicBezTo>
                  <a:cubicBezTo>
                    <a:pt x="42" y="106"/>
                    <a:pt x="42" y="106"/>
                    <a:pt x="42" y="106"/>
                  </a:cubicBezTo>
                  <a:cubicBezTo>
                    <a:pt x="42" y="107"/>
                    <a:pt x="41" y="107"/>
                    <a:pt x="40" y="107"/>
                  </a:cubicBezTo>
                  <a:cubicBezTo>
                    <a:pt x="6" y="117"/>
                    <a:pt x="6" y="117"/>
                    <a:pt x="6" y="117"/>
                  </a:cubicBezTo>
                  <a:cubicBezTo>
                    <a:pt x="5" y="117"/>
                    <a:pt x="5" y="117"/>
                    <a:pt x="5" y="117"/>
                  </a:cubicBezTo>
                  <a:close/>
                  <a:moveTo>
                    <a:pt x="18" y="81"/>
                  </a:moveTo>
                  <a:cubicBezTo>
                    <a:pt x="11" y="107"/>
                    <a:pt x="11" y="107"/>
                    <a:pt x="11" y="107"/>
                  </a:cubicBezTo>
                  <a:cubicBezTo>
                    <a:pt x="37" y="100"/>
                    <a:pt x="37" y="100"/>
                    <a:pt x="37" y="100"/>
                  </a:cubicBezTo>
                  <a:cubicBezTo>
                    <a:pt x="108" y="29"/>
                    <a:pt x="108" y="29"/>
                    <a:pt x="108" y="29"/>
                  </a:cubicBezTo>
                  <a:cubicBezTo>
                    <a:pt x="89" y="10"/>
                    <a:pt x="89" y="10"/>
                    <a:pt x="89" y="10"/>
                  </a:cubicBezTo>
                  <a:lnTo>
                    <a:pt x="18" y="8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3" name="Freeform 179">
              <a:extLst>
                <a:ext uri="{FF2B5EF4-FFF2-40B4-BE49-F238E27FC236}">
                  <a16:creationId xmlns:a16="http://schemas.microsoft.com/office/drawing/2014/main" id="{BE2AEADE-9C00-F7E4-BE78-50EFD55AB06D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65310" y="5573158"/>
              <a:ext cx="85605" cy="85605"/>
            </a:xfrm>
            <a:custGeom>
              <a:avLst/>
              <a:gdLst>
                <a:gd name="T0" fmla="*/ 29 w 34"/>
                <a:gd name="T1" fmla="*/ 33 h 33"/>
                <a:gd name="T2" fmla="*/ 26 w 34"/>
                <a:gd name="T3" fmla="*/ 32 h 33"/>
                <a:gd name="T4" fmla="*/ 2 w 34"/>
                <a:gd name="T5" fmla="*/ 8 h 33"/>
                <a:gd name="T6" fmla="*/ 2 w 34"/>
                <a:gd name="T7" fmla="*/ 2 h 33"/>
                <a:gd name="T8" fmla="*/ 8 w 34"/>
                <a:gd name="T9" fmla="*/ 2 h 33"/>
                <a:gd name="T10" fmla="*/ 32 w 34"/>
                <a:gd name="T11" fmla="*/ 26 h 33"/>
                <a:gd name="T12" fmla="*/ 32 w 34"/>
                <a:gd name="T13" fmla="*/ 32 h 33"/>
                <a:gd name="T14" fmla="*/ 29 w 34"/>
                <a:gd name="T15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33">
                  <a:moveTo>
                    <a:pt x="29" y="33"/>
                  </a:moveTo>
                  <a:cubicBezTo>
                    <a:pt x="28" y="33"/>
                    <a:pt x="27" y="33"/>
                    <a:pt x="26" y="32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0" y="6"/>
                    <a:pt x="0" y="3"/>
                    <a:pt x="2" y="2"/>
                  </a:cubicBezTo>
                  <a:cubicBezTo>
                    <a:pt x="3" y="0"/>
                    <a:pt x="6" y="0"/>
                    <a:pt x="8" y="2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4" y="28"/>
                    <a:pt x="34" y="31"/>
                    <a:pt x="32" y="32"/>
                  </a:cubicBezTo>
                  <a:cubicBezTo>
                    <a:pt x="31" y="33"/>
                    <a:pt x="30" y="33"/>
                    <a:pt x="29" y="3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4" name="Freeform 180">
              <a:extLst>
                <a:ext uri="{FF2B5EF4-FFF2-40B4-BE49-F238E27FC236}">
                  <a16:creationId xmlns:a16="http://schemas.microsoft.com/office/drawing/2014/main" id="{47B8461F-3EFF-C938-B044-79FDBEAD21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677797" y="5340808"/>
              <a:ext cx="134521" cy="130443"/>
            </a:xfrm>
            <a:custGeom>
              <a:avLst/>
              <a:gdLst>
                <a:gd name="T0" fmla="*/ 29 w 52"/>
                <a:gd name="T1" fmla="*/ 52 h 52"/>
                <a:gd name="T2" fmla="*/ 26 w 52"/>
                <a:gd name="T3" fmla="*/ 51 h 52"/>
                <a:gd name="T4" fmla="*/ 1 w 52"/>
                <a:gd name="T5" fmla="*/ 26 h 52"/>
                <a:gd name="T6" fmla="*/ 1 w 52"/>
                <a:gd name="T7" fmla="*/ 20 h 52"/>
                <a:gd name="T8" fmla="*/ 20 w 52"/>
                <a:gd name="T9" fmla="*/ 2 h 52"/>
                <a:gd name="T10" fmla="*/ 26 w 52"/>
                <a:gd name="T11" fmla="*/ 2 h 52"/>
                <a:gd name="T12" fmla="*/ 50 w 52"/>
                <a:gd name="T13" fmla="*/ 26 h 52"/>
                <a:gd name="T14" fmla="*/ 50 w 52"/>
                <a:gd name="T15" fmla="*/ 32 h 52"/>
                <a:gd name="T16" fmla="*/ 32 w 52"/>
                <a:gd name="T17" fmla="*/ 51 h 52"/>
                <a:gd name="T18" fmla="*/ 29 w 52"/>
                <a:gd name="T19" fmla="*/ 52 h 52"/>
                <a:gd name="T20" fmla="*/ 10 w 52"/>
                <a:gd name="T21" fmla="*/ 23 h 52"/>
                <a:gd name="T22" fmla="*/ 29 w 52"/>
                <a:gd name="T23" fmla="*/ 42 h 52"/>
                <a:gd name="T24" fmla="*/ 41 w 52"/>
                <a:gd name="T25" fmla="*/ 29 h 52"/>
                <a:gd name="T26" fmla="*/ 23 w 52"/>
                <a:gd name="T27" fmla="*/ 11 h 52"/>
                <a:gd name="T28" fmla="*/ 10 w 52"/>
                <a:gd name="T29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2" h="52">
                  <a:moveTo>
                    <a:pt x="29" y="52"/>
                  </a:moveTo>
                  <a:cubicBezTo>
                    <a:pt x="28" y="52"/>
                    <a:pt x="27" y="51"/>
                    <a:pt x="26" y="5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0" y="24"/>
                    <a:pt x="0" y="22"/>
                    <a:pt x="1" y="20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1" y="0"/>
                    <a:pt x="24" y="0"/>
                    <a:pt x="26" y="2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2" y="28"/>
                    <a:pt x="52" y="31"/>
                    <a:pt x="50" y="32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1" y="51"/>
                    <a:pt x="30" y="52"/>
                    <a:pt x="29" y="52"/>
                  </a:cubicBezTo>
                  <a:close/>
                  <a:moveTo>
                    <a:pt x="10" y="23"/>
                  </a:moveTo>
                  <a:cubicBezTo>
                    <a:pt x="29" y="42"/>
                    <a:pt x="29" y="42"/>
                    <a:pt x="29" y="42"/>
                  </a:cubicBezTo>
                  <a:cubicBezTo>
                    <a:pt x="41" y="29"/>
                    <a:pt x="41" y="29"/>
                    <a:pt x="41" y="29"/>
                  </a:cubicBezTo>
                  <a:cubicBezTo>
                    <a:pt x="23" y="11"/>
                    <a:pt x="23" y="11"/>
                    <a:pt x="23" y="11"/>
                  </a:cubicBezTo>
                  <a:lnTo>
                    <a:pt x="10" y="2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1" name="Shape21_20200717_154352">
            <a:extLst>
              <a:ext uri="{FF2B5EF4-FFF2-40B4-BE49-F238E27FC236}">
                <a16:creationId xmlns:a16="http://schemas.microsoft.com/office/drawing/2014/main" id="{A21F9827-C0FA-A2B5-85CB-14C98CAC1C59}"/>
              </a:ext>
            </a:extLst>
          </p:cNvPr>
          <p:cNvGrpSpPr>
            <a:grpSpLocks noChangeAspect="1"/>
          </p:cNvGrpSpPr>
          <p:nvPr/>
        </p:nvGrpSpPr>
        <p:grpSpPr>
          <a:xfrm>
            <a:off x="5923798" y="3847542"/>
            <a:ext cx="529926" cy="586996"/>
            <a:chOff x="-3460264" y="5295967"/>
            <a:chExt cx="529926" cy="586996"/>
          </a:xfrm>
          <a:solidFill>
            <a:schemeClr val="accent1"/>
          </a:solidFill>
        </p:grpSpPr>
        <p:sp>
          <p:nvSpPr>
            <p:cNvPr id="118" name="Freeform 181">
              <a:extLst>
                <a:ext uri="{FF2B5EF4-FFF2-40B4-BE49-F238E27FC236}">
                  <a16:creationId xmlns:a16="http://schemas.microsoft.com/office/drawing/2014/main" id="{E9D02A7A-3ADB-1C81-6B0E-AEEAC3FA2E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460264" y="5463098"/>
              <a:ext cx="89680" cy="130443"/>
            </a:xfrm>
            <a:custGeom>
              <a:avLst/>
              <a:gdLst>
                <a:gd name="T0" fmla="*/ 32 w 36"/>
                <a:gd name="T1" fmla="*/ 52 h 52"/>
                <a:gd name="T2" fmla="*/ 30 w 36"/>
                <a:gd name="T3" fmla="*/ 51 h 52"/>
                <a:gd name="T4" fmla="*/ 2 w 36"/>
                <a:gd name="T5" fmla="*/ 33 h 52"/>
                <a:gd name="T6" fmla="*/ 0 w 36"/>
                <a:gd name="T7" fmla="*/ 30 h 52"/>
                <a:gd name="T8" fmla="*/ 2 w 36"/>
                <a:gd name="T9" fmla="*/ 26 h 52"/>
                <a:gd name="T10" fmla="*/ 29 w 36"/>
                <a:gd name="T11" fmla="*/ 1 h 52"/>
                <a:gd name="T12" fmla="*/ 34 w 36"/>
                <a:gd name="T13" fmla="*/ 0 h 52"/>
                <a:gd name="T14" fmla="*/ 36 w 36"/>
                <a:gd name="T15" fmla="*/ 4 h 52"/>
                <a:gd name="T16" fmla="*/ 36 w 36"/>
                <a:gd name="T17" fmla="*/ 47 h 52"/>
                <a:gd name="T18" fmla="*/ 34 w 36"/>
                <a:gd name="T19" fmla="*/ 51 h 52"/>
                <a:gd name="T20" fmla="*/ 32 w 36"/>
                <a:gd name="T21" fmla="*/ 52 h 52"/>
                <a:gd name="T22" fmla="*/ 11 w 36"/>
                <a:gd name="T23" fmla="*/ 29 h 52"/>
                <a:gd name="T24" fmla="*/ 28 w 36"/>
                <a:gd name="T25" fmla="*/ 40 h 52"/>
                <a:gd name="T26" fmla="*/ 28 w 36"/>
                <a:gd name="T27" fmla="*/ 13 h 52"/>
                <a:gd name="T28" fmla="*/ 11 w 36"/>
                <a:gd name="T29" fmla="*/ 29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52">
                  <a:moveTo>
                    <a:pt x="32" y="52"/>
                  </a:moveTo>
                  <a:cubicBezTo>
                    <a:pt x="31" y="52"/>
                    <a:pt x="31" y="51"/>
                    <a:pt x="30" y="51"/>
                  </a:cubicBezTo>
                  <a:cubicBezTo>
                    <a:pt x="2" y="33"/>
                    <a:pt x="2" y="33"/>
                    <a:pt x="2" y="33"/>
                  </a:cubicBezTo>
                  <a:cubicBezTo>
                    <a:pt x="1" y="32"/>
                    <a:pt x="0" y="31"/>
                    <a:pt x="0" y="30"/>
                  </a:cubicBezTo>
                  <a:cubicBezTo>
                    <a:pt x="0" y="28"/>
                    <a:pt x="1" y="27"/>
                    <a:pt x="2" y="26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31" y="0"/>
                    <a:pt x="32" y="0"/>
                    <a:pt x="34" y="0"/>
                  </a:cubicBezTo>
                  <a:cubicBezTo>
                    <a:pt x="35" y="1"/>
                    <a:pt x="36" y="2"/>
                    <a:pt x="36" y="4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6" y="49"/>
                    <a:pt x="35" y="50"/>
                    <a:pt x="34" y="51"/>
                  </a:cubicBezTo>
                  <a:cubicBezTo>
                    <a:pt x="34" y="51"/>
                    <a:pt x="33" y="52"/>
                    <a:pt x="32" y="52"/>
                  </a:cubicBezTo>
                  <a:close/>
                  <a:moveTo>
                    <a:pt x="11" y="29"/>
                  </a:moveTo>
                  <a:cubicBezTo>
                    <a:pt x="28" y="40"/>
                    <a:pt x="28" y="40"/>
                    <a:pt x="28" y="40"/>
                  </a:cubicBezTo>
                  <a:cubicBezTo>
                    <a:pt x="28" y="13"/>
                    <a:pt x="28" y="13"/>
                    <a:pt x="28" y="13"/>
                  </a:cubicBezTo>
                  <a:lnTo>
                    <a:pt x="11" y="2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9" name="Freeform 182">
              <a:extLst>
                <a:ext uri="{FF2B5EF4-FFF2-40B4-BE49-F238E27FC236}">
                  <a16:creationId xmlns:a16="http://schemas.microsoft.com/office/drawing/2014/main" id="{0F711B76-94D9-D6DF-FA40-0EB6D401842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60264" y="5528320"/>
              <a:ext cx="529925" cy="354643"/>
            </a:xfrm>
            <a:custGeom>
              <a:avLst/>
              <a:gdLst>
                <a:gd name="T0" fmla="*/ 207 w 211"/>
                <a:gd name="T1" fmla="*/ 141 h 141"/>
                <a:gd name="T2" fmla="*/ 4 w 211"/>
                <a:gd name="T3" fmla="*/ 141 h 141"/>
                <a:gd name="T4" fmla="*/ 0 w 211"/>
                <a:gd name="T5" fmla="*/ 137 h 141"/>
                <a:gd name="T6" fmla="*/ 0 w 211"/>
                <a:gd name="T7" fmla="*/ 4 h 141"/>
                <a:gd name="T8" fmla="*/ 2 w 211"/>
                <a:gd name="T9" fmla="*/ 1 h 141"/>
                <a:gd name="T10" fmla="*/ 7 w 211"/>
                <a:gd name="T11" fmla="*/ 1 h 141"/>
                <a:gd name="T12" fmla="*/ 31 w 211"/>
                <a:gd name="T13" fmla="*/ 17 h 141"/>
                <a:gd name="T14" fmla="*/ 32 w 211"/>
                <a:gd name="T15" fmla="*/ 23 h 141"/>
                <a:gd name="T16" fmla="*/ 27 w 211"/>
                <a:gd name="T17" fmla="*/ 24 h 141"/>
                <a:gd name="T18" fmla="*/ 9 w 211"/>
                <a:gd name="T19" fmla="*/ 12 h 141"/>
                <a:gd name="T20" fmla="*/ 9 w 211"/>
                <a:gd name="T21" fmla="*/ 133 h 141"/>
                <a:gd name="T22" fmla="*/ 202 w 211"/>
                <a:gd name="T23" fmla="*/ 133 h 141"/>
                <a:gd name="T24" fmla="*/ 202 w 211"/>
                <a:gd name="T25" fmla="*/ 12 h 141"/>
                <a:gd name="T26" fmla="*/ 184 w 211"/>
                <a:gd name="T27" fmla="*/ 24 h 141"/>
                <a:gd name="T28" fmla="*/ 178 w 211"/>
                <a:gd name="T29" fmla="*/ 23 h 141"/>
                <a:gd name="T30" fmla="*/ 179 w 211"/>
                <a:gd name="T31" fmla="*/ 17 h 141"/>
                <a:gd name="T32" fmla="*/ 204 w 211"/>
                <a:gd name="T33" fmla="*/ 1 h 141"/>
                <a:gd name="T34" fmla="*/ 208 w 211"/>
                <a:gd name="T35" fmla="*/ 1 h 141"/>
                <a:gd name="T36" fmla="*/ 211 w 211"/>
                <a:gd name="T37" fmla="*/ 4 h 141"/>
                <a:gd name="T38" fmla="*/ 211 w 211"/>
                <a:gd name="T39" fmla="*/ 137 h 141"/>
                <a:gd name="T40" fmla="*/ 207 w 211"/>
                <a:gd name="T41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1" h="141">
                  <a:moveTo>
                    <a:pt x="207" y="141"/>
                  </a:moveTo>
                  <a:cubicBezTo>
                    <a:pt x="4" y="141"/>
                    <a:pt x="4" y="141"/>
                    <a:pt x="4" y="141"/>
                  </a:cubicBezTo>
                  <a:cubicBezTo>
                    <a:pt x="2" y="141"/>
                    <a:pt x="0" y="140"/>
                    <a:pt x="0" y="13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1" y="1"/>
                    <a:pt x="2" y="1"/>
                  </a:cubicBezTo>
                  <a:cubicBezTo>
                    <a:pt x="4" y="0"/>
                    <a:pt x="5" y="0"/>
                    <a:pt x="7" y="1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3" y="18"/>
                    <a:pt x="34" y="21"/>
                    <a:pt x="32" y="23"/>
                  </a:cubicBezTo>
                  <a:cubicBezTo>
                    <a:pt x="31" y="25"/>
                    <a:pt x="29" y="25"/>
                    <a:pt x="27" y="24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133"/>
                    <a:pt x="9" y="133"/>
                    <a:pt x="9" y="133"/>
                  </a:cubicBezTo>
                  <a:cubicBezTo>
                    <a:pt x="202" y="133"/>
                    <a:pt x="202" y="133"/>
                    <a:pt x="202" y="133"/>
                  </a:cubicBezTo>
                  <a:cubicBezTo>
                    <a:pt x="202" y="12"/>
                    <a:pt x="202" y="12"/>
                    <a:pt x="202" y="12"/>
                  </a:cubicBezTo>
                  <a:cubicBezTo>
                    <a:pt x="184" y="24"/>
                    <a:pt x="184" y="24"/>
                    <a:pt x="184" y="24"/>
                  </a:cubicBezTo>
                  <a:cubicBezTo>
                    <a:pt x="182" y="26"/>
                    <a:pt x="179" y="25"/>
                    <a:pt x="178" y="23"/>
                  </a:cubicBezTo>
                  <a:cubicBezTo>
                    <a:pt x="177" y="21"/>
                    <a:pt x="177" y="19"/>
                    <a:pt x="179" y="17"/>
                  </a:cubicBezTo>
                  <a:cubicBezTo>
                    <a:pt x="204" y="1"/>
                    <a:pt x="204" y="1"/>
                    <a:pt x="204" y="1"/>
                  </a:cubicBezTo>
                  <a:cubicBezTo>
                    <a:pt x="206" y="0"/>
                    <a:pt x="207" y="0"/>
                    <a:pt x="208" y="1"/>
                  </a:cubicBezTo>
                  <a:cubicBezTo>
                    <a:pt x="210" y="1"/>
                    <a:pt x="211" y="3"/>
                    <a:pt x="211" y="4"/>
                  </a:cubicBezTo>
                  <a:cubicBezTo>
                    <a:pt x="211" y="137"/>
                    <a:pt x="211" y="137"/>
                    <a:pt x="211" y="137"/>
                  </a:cubicBezTo>
                  <a:cubicBezTo>
                    <a:pt x="211" y="140"/>
                    <a:pt x="209" y="141"/>
                    <a:pt x="207" y="1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0" name="Freeform 183">
              <a:extLst>
                <a:ext uri="{FF2B5EF4-FFF2-40B4-BE49-F238E27FC236}">
                  <a16:creationId xmlns:a16="http://schemas.microsoft.com/office/drawing/2014/main" id="{AC4FDDF5-3383-1970-D367-F7F103B78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020018" y="5463098"/>
              <a:ext cx="89680" cy="130443"/>
            </a:xfrm>
            <a:custGeom>
              <a:avLst/>
              <a:gdLst>
                <a:gd name="T0" fmla="*/ 4 w 36"/>
                <a:gd name="T1" fmla="*/ 52 h 52"/>
                <a:gd name="T2" fmla="*/ 2 w 36"/>
                <a:gd name="T3" fmla="*/ 51 h 52"/>
                <a:gd name="T4" fmla="*/ 0 w 36"/>
                <a:gd name="T5" fmla="*/ 47 h 52"/>
                <a:gd name="T6" fmla="*/ 0 w 36"/>
                <a:gd name="T7" fmla="*/ 4 h 52"/>
                <a:gd name="T8" fmla="*/ 2 w 36"/>
                <a:gd name="T9" fmla="*/ 0 h 52"/>
                <a:gd name="T10" fmla="*/ 7 w 36"/>
                <a:gd name="T11" fmla="*/ 1 h 52"/>
                <a:gd name="T12" fmla="*/ 34 w 36"/>
                <a:gd name="T13" fmla="*/ 26 h 52"/>
                <a:gd name="T14" fmla="*/ 36 w 36"/>
                <a:gd name="T15" fmla="*/ 30 h 52"/>
                <a:gd name="T16" fmla="*/ 34 w 36"/>
                <a:gd name="T17" fmla="*/ 33 h 52"/>
                <a:gd name="T18" fmla="*/ 6 w 36"/>
                <a:gd name="T19" fmla="*/ 51 h 52"/>
                <a:gd name="T20" fmla="*/ 4 w 36"/>
                <a:gd name="T21" fmla="*/ 52 h 52"/>
                <a:gd name="T22" fmla="*/ 8 w 36"/>
                <a:gd name="T23" fmla="*/ 13 h 52"/>
                <a:gd name="T24" fmla="*/ 8 w 36"/>
                <a:gd name="T25" fmla="*/ 40 h 52"/>
                <a:gd name="T26" fmla="*/ 25 w 36"/>
                <a:gd name="T27" fmla="*/ 29 h 52"/>
                <a:gd name="T28" fmla="*/ 8 w 36"/>
                <a:gd name="T29" fmla="*/ 1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52">
                  <a:moveTo>
                    <a:pt x="4" y="52"/>
                  </a:moveTo>
                  <a:cubicBezTo>
                    <a:pt x="3" y="52"/>
                    <a:pt x="2" y="51"/>
                    <a:pt x="2" y="51"/>
                  </a:cubicBezTo>
                  <a:cubicBezTo>
                    <a:pt x="1" y="50"/>
                    <a:pt x="0" y="49"/>
                    <a:pt x="0" y="4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1"/>
                    <a:pt x="2" y="0"/>
                  </a:cubicBezTo>
                  <a:cubicBezTo>
                    <a:pt x="4" y="0"/>
                    <a:pt x="5" y="0"/>
                    <a:pt x="7" y="1"/>
                  </a:cubicBezTo>
                  <a:cubicBezTo>
                    <a:pt x="34" y="26"/>
                    <a:pt x="34" y="26"/>
                    <a:pt x="34" y="26"/>
                  </a:cubicBezTo>
                  <a:cubicBezTo>
                    <a:pt x="35" y="27"/>
                    <a:pt x="36" y="28"/>
                    <a:pt x="36" y="30"/>
                  </a:cubicBezTo>
                  <a:cubicBezTo>
                    <a:pt x="36" y="31"/>
                    <a:pt x="35" y="32"/>
                    <a:pt x="34" y="33"/>
                  </a:cubicBezTo>
                  <a:cubicBezTo>
                    <a:pt x="6" y="51"/>
                    <a:pt x="6" y="51"/>
                    <a:pt x="6" y="51"/>
                  </a:cubicBezTo>
                  <a:cubicBezTo>
                    <a:pt x="5" y="51"/>
                    <a:pt x="5" y="52"/>
                    <a:pt x="4" y="52"/>
                  </a:cubicBezTo>
                  <a:close/>
                  <a:moveTo>
                    <a:pt x="8" y="13"/>
                  </a:moveTo>
                  <a:cubicBezTo>
                    <a:pt x="8" y="40"/>
                    <a:pt x="8" y="40"/>
                    <a:pt x="8" y="40"/>
                  </a:cubicBezTo>
                  <a:cubicBezTo>
                    <a:pt x="25" y="29"/>
                    <a:pt x="25" y="29"/>
                    <a:pt x="25" y="29"/>
                  </a:cubicBezTo>
                  <a:lnTo>
                    <a:pt x="8" y="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1" name="Freeform 184">
              <a:extLst>
                <a:ext uri="{FF2B5EF4-FFF2-40B4-BE49-F238E27FC236}">
                  <a16:creationId xmlns:a16="http://schemas.microsoft.com/office/drawing/2014/main" id="{43237C03-5A44-DF08-DB0B-5128762219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56446" y="5295967"/>
              <a:ext cx="122290" cy="65222"/>
            </a:xfrm>
            <a:custGeom>
              <a:avLst/>
              <a:gdLst>
                <a:gd name="T0" fmla="*/ 45 w 49"/>
                <a:gd name="T1" fmla="*/ 27 h 27"/>
                <a:gd name="T2" fmla="*/ 4 w 49"/>
                <a:gd name="T3" fmla="*/ 27 h 27"/>
                <a:gd name="T4" fmla="*/ 0 w 49"/>
                <a:gd name="T5" fmla="*/ 24 h 27"/>
                <a:gd name="T6" fmla="*/ 1 w 49"/>
                <a:gd name="T7" fmla="*/ 20 h 27"/>
                <a:gd name="T8" fmla="*/ 22 w 49"/>
                <a:gd name="T9" fmla="*/ 1 h 27"/>
                <a:gd name="T10" fmla="*/ 27 w 49"/>
                <a:gd name="T11" fmla="*/ 1 h 27"/>
                <a:gd name="T12" fmla="*/ 48 w 49"/>
                <a:gd name="T13" fmla="*/ 20 h 27"/>
                <a:gd name="T14" fmla="*/ 49 w 49"/>
                <a:gd name="T15" fmla="*/ 24 h 27"/>
                <a:gd name="T16" fmla="*/ 45 w 49"/>
                <a:gd name="T17" fmla="*/ 27 h 27"/>
                <a:gd name="T18" fmla="*/ 15 w 49"/>
                <a:gd name="T19" fmla="*/ 19 h 27"/>
                <a:gd name="T20" fmla="*/ 34 w 49"/>
                <a:gd name="T21" fmla="*/ 19 h 27"/>
                <a:gd name="T22" fmla="*/ 24 w 49"/>
                <a:gd name="T23" fmla="*/ 10 h 27"/>
                <a:gd name="T24" fmla="*/ 15 w 49"/>
                <a:gd name="T25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27">
                  <a:moveTo>
                    <a:pt x="45" y="27"/>
                  </a:moveTo>
                  <a:cubicBezTo>
                    <a:pt x="4" y="27"/>
                    <a:pt x="4" y="27"/>
                    <a:pt x="4" y="27"/>
                  </a:cubicBezTo>
                  <a:cubicBezTo>
                    <a:pt x="2" y="27"/>
                    <a:pt x="1" y="26"/>
                    <a:pt x="0" y="24"/>
                  </a:cubicBezTo>
                  <a:cubicBezTo>
                    <a:pt x="0" y="23"/>
                    <a:pt x="0" y="21"/>
                    <a:pt x="1" y="20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3" y="0"/>
                    <a:pt x="26" y="0"/>
                    <a:pt x="27" y="1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49" y="21"/>
                    <a:pt x="49" y="23"/>
                    <a:pt x="49" y="24"/>
                  </a:cubicBezTo>
                  <a:cubicBezTo>
                    <a:pt x="48" y="26"/>
                    <a:pt x="47" y="27"/>
                    <a:pt x="45" y="27"/>
                  </a:cubicBezTo>
                  <a:close/>
                  <a:moveTo>
                    <a:pt x="15" y="19"/>
                  </a:moveTo>
                  <a:cubicBezTo>
                    <a:pt x="34" y="19"/>
                    <a:pt x="34" y="19"/>
                    <a:pt x="34" y="19"/>
                  </a:cubicBezTo>
                  <a:cubicBezTo>
                    <a:pt x="24" y="10"/>
                    <a:pt x="24" y="10"/>
                    <a:pt x="24" y="10"/>
                  </a:cubicBezTo>
                  <a:lnTo>
                    <a:pt x="15" y="1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2" name="Freeform 185">
              <a:extLst>
                <a:ext uri="{FF2B5EF4-FFF2-40B4-BE49-F238E27FC236}">
                  <a16:creationId xmlns:a16="http://schemas.microsoft.com/office/drawing/2014/main" id="{A7B38835-6BFA-17E1-2FD8-E3820F3D0EB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90967" y="5340808"/>
              <a:ext cx="391329" cy="248658"/>
            </a:xfrm>
            <a:custGeom>
              <a:avLst/>
              <a:gdLst>
                <a:gd name="T0" fmla="*/ 4 w 155"/>
                <a:gd name="T1" fmla="*/ 98 h 98"/>
                <a:gd name="T2" fmla="*/ 0 w 155"/>
                <a:gd name="T3" fmla="*/ 94 h 98"/>
                <a:gd name="T4" fmla="*/ 0 w 155"/>
                <a:gd name="T5" fmla="*/ 4 h 98"/>
                <a:gd name="T6" fmla="*/ 4 w 155"/>
                <a:gd name="T7" fmla="*/ 0 h 98"/>
                <a:gd name="T8" fmla="*/ 151 w 155"/>
                <a:gd name="T9" fmla="*/ 0 h 98"/>
                <a:gd name="T10" fmla="*/ 155 w 155"/>
                <a:gd name="T11" fmla="*/ 4 h 98"/>
                <a:gd name="T12" fmla="*/ 155 w 155"/>
                <a:gd name="T13" fmla="*/ 94 h 98"/>
                <a:gd name="T14" fmla="*/ 151 w 155"/>
                <a:gd name="T15" fmla="*/ 98 h 98"/>
                <a:gd name="T16" fmla="*/ 147 w 155"/>
                <a:gd name="T17" fmla="*/ 94 h 98"/>
                <a:gd name="T18" fmla="*/ 147 w 155"/>
                <a:gd name="T19" fmla="*/ 8 h 98"/>
                <a:gd name="T20" fmla="*/ 8 w 155"/>
                <a:gd name="T21" fmla="*/ 8 h 98"/>
                <a:gd name="T22" fmla="*/ 8 w 155"/>
                <a:gd name="T23" fmla="*/ 94 h 98"/>
                <a:gd name="T24" fmla="*/ 4 w 155"/>
                <a:gd name="T25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5" h="98">
                  <a:moveTo>
                    <a:pt x="4" y="98"/>
                  </a:moveTo>
                  <a:cubicBezTo>
                    <a:pt x="2" y="98"/>
                    <a:pt x="0" y="97"/>
                    <a:pt x="0" y="9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53" y="0"/>
                    <a:pt x="155" y="2"/>
                    <a:pt x="155" y="4"/>
                  </a:cubicBezTo>
                  <a:cubicBezTo>
                    <a:pt x="155" y="94"/>
                    <a:pt x="155" y="94"/>
                    <a:pt x="155" y="94"/>
                  </a:cubicBezTo>
                  <a:cubicBezTo>
                    <a:pt x="155" y="96"/>
                    <a:pt x="153" y="98"/>
                    <a:pt x="151" y="98"/>
                  </a:cubicBezTo>
                  <a:cubicBezTo>
                    <a:pt x="149" y="98"/>
                    <a:pt x="147" y="96"/>
                    <a:pt x="147" y="94"/>
                  </a:cubicBezTo>
                  <a:cubicBezTo>
                    <a:pt x="147" y="8"/>
                    <a:pt x="147" y="8"/>
                    <a:pt x="14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94"/>
                    <a:pt x="8" y="94"/>
                    <a:pt x="8" y="94"/>
                  </a:cubicBezTo>
                  <a:cubicBezTo>
                    <a:pt x="8" y="97"/>
                    <a:pt x="6" y="98"/>
                    <a:pt x="4" y="9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3" name="Freeform 186">
              <a:extLst>
                <a:ext uri="{FF2B5EF4-FFF2-40B4-BE49-F238E27FC236}">
                  <a16:creationId xmlns:a16="http://schemas.microsoft.com/office/drawing/2014/main" id="{EE507EA8-0783-30F1-65EE-1CC847C833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460264" y="5528320"/>
              <a:ext cx="529925" cy="354643"/>
            </a:xfrm>
            <a:custGeom>
              <a:avLst/>
              <a:gdLst>
                <a:gd name="T0" fmla="*/ 207 w 211"/>
                <a:gd name="T1" fmla="*/ 141 h 141"/>
                <a:gd name="T2" fmla="*/ 4 w 211"/>
                <a:gd name="T3" fmla="*/ 141 h 141"/>
                <a:gd name="T4" fmla="*/ 0 w 211"/>
                <a:gd name="T5" fmla="*/ 138 h 141"/>
                <a:gd name="T6" fmla="*/ 2 w 211"/>
                <a:gd name="T7" fmla="*/ 134 h 141"/>
                <a:gd name="T8" fmla="*/ 98 w 211"/>
                <a:gd name="T9" fmla="*/ 71 h 141"/>
                <a:gd name="T10" fmla="*/ 2 w 211"/>
                <a:gd name="T11" fmla="*/ 8 h 141"/>
                <a:gd name="T12" fmla="*/ 1 w 211"/>
                <a:gd name="T13" fmla="*/ 2 h 141"/>
                <a:gd name="T14" fmla="*/ 7 w 211"/>
                <a:gd name="T15" fmla="*/ 1 h 141"/>
                <a:gd name="T16" fmla="*/ 105 w 211"/>
                <a:gd name="T17" fmla="*/ 66 h 141"/>
                <a:gd name="T18" fmla="*/ 204 w 211"/>
                <a:gd name="T19" fmla="*/ 1 h 141"/>
                <a:gd name="T20" fmla="*/ 210 w 211"/>
                <a:gd name="T21" fmla="*/ 2 h 141"/>
                <a:gd name="T22" fmla="*/ 209 w 211"/>
                <a:gd name="T23" fmla="*/ 8 h 141"/>
                <a:gd name="T24" fmla="*/ 113 w 211"/>
                <a:gd name="T25" fmla="*/ 71 h 141"/>
                <a:gd name="T26" fmla="*/ 209 w 211"/>
                <a:gd name="T27" fmla="*/ 134 h 141"/>
                <a:gd name="T28" fmla="*/ 210 w 211"/>
                <a:gd name="T29" fmla="*/ 138 h 141"/>
                <a:gd name="T30" fmla="*/ 207 w 211"/>
                <a:gd name="T31" fmla="*/ 141 h 141"/>
                <a:gd name="T32" fmla="*/ 18 w 211"/>
                <a:gd name="T33" fmla="*/ 133 h 141"/>
                <a:gd name="T34" fmla="*/ 193 w 211"/>
                <a:gd name="T35" fmla="*/ 133 h 141"/>
                <a:gd name="T36" fmla="*/ 105 w 211"/>
                <a:gd name="T37" fmla="*/ 76 h 141"/>
                <a:gd name="T38" fmla="*/ 18 w 211"/>
                <a:gd name="T39" fmla="*/ 13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1" h="141">
                  <a:moveTo>
                    <a:pt x="207" y="141"/>
                  </a:moveTo>
                  <a:cubicBezTo>
                    <a:pt x="4" y="141"/>
                    <a:pt x="4" y="141"/>
                    <a:pt x="4" y="141"/>
                  </a:cubicBezTo>
                  <a:cubicBezTo>
                    <a:pt x="3" y="141"/>
                    <a:pt x="1" y="140"/>
                    <a:pt x="0" y="138"/>
                  </a:cubicBezTo>
                  <a:cubicBezTo>
                    <a:pt x="0" y="137"/>
                    <a:pt x="1" y="135"/>
                    <a:pt x="2" y="134"/>
                  </a:cubicBezTo>
                  <a:cubicBezTo>
                    <a:pt x="98" y="71"/>
                    <a:pt x="98" y="71"/>
                    <a:pt x="98" y="71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0" y="6"/>
                    <a:pt x="0" y="4"/>
                    <a:pt x="1" y="2"/>
                  </a:cubicBezTo>
                  <a:cubicBezTo>
                    <a:pt x="2" y="0"/>
                    <a:pt x="5" y="0"/>
                    <a:pt x="7" y="1"/>
                  </a:cubicBezTo>
                  <a:cubicBezTo>
                    <a:pt x="105" y="66"/>
                    <a:pt x="105" y="66"/>
                    <a:pt x="105" y="66"/>
                  </a:cubicBezTo>
                  <a:cubicBezTo>
                    <a:pt x="204" y="1"/>
                    <a:pt x="204" y="1"/>
                    <a:pt x="204" y="1"/>
                  </a:cubicBezTo>
                  <a:cubicBezTo>
                    <a:pt x="206" y="0"/>
                    <a:pt x="209" y="0"/>
                    <a:pt x="210" y="2"/>
                  </a:cubicBezTo>
                  <a:cubicBezTo>
                    <a:pt x="211" y="4"/>
                    <a:pt x="211" y="6"/>
                    <a:pt x="209" y="8"/>
                  </a:cubicBezTo>
                  <a:cubicBezTo>
                    <a:pt x="113" y="71"/>
                    <a:pt x="113" y="71"/>
                    <a:pt x="113" y="71"/>
                  </a:cubicBezTo>
                  <a:cubicBezTo>
                    <a:pt x="209" y="134"/>
                    <a:pt x="209" y="134"/>
                    <a:pt x="209" y="134"/>
                  </a:cubicBezTo>
                  <a:cubicBezTo>
                    <a:pt x="210" y="135"/>
                    <a:pt x="211" y="137"/>
                    <a:pt x="210" y="138"/>
                  </a:cubicBezTo>
                  <a:cubicBezTo>
                    <a:pt x="210" y="140"/>
                    <a:pt x="208" y="141"/>
                    <a:pt x="207" y="141"/>
                  </a:cubicBezTo>
                  <a:close/>
                  <a:moveTo>
                    <a:pt x="18" y="133"/>
                  </a:moveTo>
                  <a:cubicBezTo>
                    <a:pt x="193" y="133"/>
                    <a:pt x="193" y="133"/>
                    <a:pt x="193" y="133"/>
                  </a:cubicBezTo>
                  <a:cubicBezTo>
                    <a:pt x="105" y="76"/>
                    <a:pt x="105" y="76"/>
                    <a:pt x="105" y="76"/>
                  </a:cubicBezTo>
                  <a:lnTo>
                    <a:pt x="18" y="13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4" name="Freeform 187">
              <a:extLst>
                <a:ext uri="{FF2B5EF4-FFF2-40B4-BE49-F238E27FC236}">
                  <a16:creationId xmlns:a16="http://schemas.microsoft.com/office/drawing/2014/main" id="{A6182523-5EB6-0D05-AD57-DB48122B11A2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17593" y="5418257"/>
              <a:ext cx="158979" cy="24458"/>
            </a:xfrm>
            <a:custGeom>
              <a:avLst/>
              <a:gdLst>
                <a:gd name="T0" fmla="*/ 60 w 64"/>
                <a:gd name="T1" fmla="*/ 9 h 9"/>
                <a:gd name="T2" fmla="*/ 4 w 64"/>
                <a:gd name="T3" fmla="*/ 9 h 9"/>
                <a:gd name="T4" fmla="*/ 0 w 64"/>
                <a:gd name="T5" fmla="*/ 4 h 9"/>
                <a:gd name="T6" fmla="*/ 4 w 64"/>
                <a:gd name="T7" fmla="*/ 0 h 9"/>
                <a:gd name="T8" fmla="*/ 60 w 64"/>
                <a:gd name="T9" fmla="*/ 0 h 9"/>
                <a:gd name="T10" fmla="*/ 64 w 64"/>
                <a:gd name="T11" fmla="*/ 4 h 9"/>
                <a:gd name="T12" fmla="*/ 60 w 64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2" y="0"/>
                    <a:pt x="64" y="2"/>
                    <a:pt x="64" y="4"/>
                  </a:cubicBezTo>
                  <a:cubicBezTo>
                    <a:pt x="64" y="7"/>
                    <a:pt x="62" y="9"/>
                    <a:pt x="6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5" name="Freeform 188">
              <a:extLst>
                <a:ext uri="{FF2B5EF4-FFF2-40B4-BE49-F238E27FC236}">
                  <a16:creationId xmlns:a16="http://schemas.microsoft.com/office/drawing/2014/main" id="{5D30EFAC-E105-F0FB-21B3-C49538F5E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17593" y="5495709"/>
              <a:ext cx="248659" cy="20383"/>
            </a:xfrm>
            <a:custGeom>
              <a:avLst/>
              <a:gdLst>
                <a:gd name="T0" fmla="*/ 95 w 99"/>
                <a:gd name="T1" fmla="*/ 8 h 8"/>
                <a:gd name="T2" fmla="*/ 4 w 99"/>
                <a:gd name="T3" fmla="*/ 8 h 8"/>
                <a:gd name="T4" fmla="*/ 0 w 99"/>
                <a:gd name="T5" fmla="*/ 4 h 8"/>
                <a:gd name="T6" fmla="*/ 4 w 99"/>
                <a:gd name="T7" fmla="*/ 0 h 8"/>
                <a:gd name="T8" fmla="*/ 95 w 99"/>
                <a:gd name="T9" fmla="*/ 0 h 8"/>
                <a:gd name="T10" fmla="*/ 99 w 99"/>
                <a:gd name="T11" fmla="*/ 4 h 8"/>
                <a:gd name="T12" fmla="*/ 95 w 99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9" h="8">
                  <a:moveTo>
                    <a:pt x="95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7" y="0"/>
                    <a:pt x="99" y="2"/>
                    <a:pt x="99" y="4"/>
                  </a:cubicBezTo>
                  <a:cubicBezTo>
                    <a:pt x="99" y="6"/>
                    <a:pt x="97" y="8"/>
                    <a:pt x="95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6" name="Freeform 189">
              <a:extLst>
                <a:ext uri="{FF2B5EF4-FFF2-40B4-BE49-F238E27FC236}">
                  <a16:creationId xmlns:a16="http://schemas.microsoft.com/office/drawing/2014/main" id="{27E04DB7-0E1B-5FF7-74A7-B9E804D2BA9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64599" y="5573158"/>
              <a:ext cx="195665" cy="20383"/>
            </a:xfrm>
            <a:custGeom>
              <a:avLst/>
              <a:gdLst>
                <a:gd name="T0" fmla="*/ 73 w 77"/>
                <a:gd name="T1" fmla="*/ 9 h 9"/>
                <a:gd name="T2" fmla="*/ 4 w 77"/>
                <a:gd name="T3" fmla="*/ 9 h 9"/>
                <a:gd name="T4" fmla="*/ 0 w 77"/>
                <a:gd name="T5" fmla="*/ 4 h 9"/>
                <a:gd name="T6" fmla="*/ 4 w 77"/>
                <a:gd name="T7" fmla="*/ 0 h 9"/>
                <a:gd name="T8" fmla="*/ 73 w 77"/>
                <a:gd name="T9" fmla="*/ 0 h 9"/>
                <a:gd name="T10" fmla="*/ 77 w 77"/>
                <a:gd name="T11" fmla="*/ 4 h 9"/>
                <a:gd name="T12" fmla="*/ 73 w 77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9">
                  <a:moveTo>
                    <a:pt x="73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5" y="0"/>
                    <a:pt x="77" y="2"/>
                    <a:pt x="77" y="4"/>
                  </a:cubicBezTo>
                  <a:cubicBezTo>
                    <a:pt x="77" y="7"/>
                    <a:pt x="75" y="9"/>
                    <a:pt x="7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2" name="Shape22_20200717_154352">
            <a:extLst>
              <a:ext uri="{FF2B5EF4-FFF2-40B4-BE49-F238E27FC236}">
                <a16:creationId xmlns:a16="http://schemas.microsoft.com/office/drawing/2014/main" id="{0B48C374-FCDE-60A4-E089-9F62649BC7CE}"/>
              </a:ext>
            </a:extLst>
          </p:cNvPr>
          <p:cNvGrpSpPr>
            <a:grpSpLocks noChangeAspect="1"/>
          </p:cNvGrpSpPr>
          <p:nvPr/>
        </p:nvGrpSpPr>
        <p:grpSpPr>
          <a:xfrm>
            <a:off x="7142706" y="3798626"/>
            <a:ext cx="517698" cy="680751"/>
            <a:chOff x="-2119146" y="5247051"/>
            <a:chExt cx="517698" cy="680751"/>
          </a:xfrm>
          <a:solidFill>
            <a:schemeClr val="accent1"/>
          </a:solidFill>
        </p:grpSpPr>
        <p:sp>
          <p:nvSpPr>
            <p:cNvPr id="112" name="Freeform 190">
              <a:extLst>
                <a:ext uri="{FF2B5EF4-FFF2-40B4-BE49-F238E27FC236}">
                  <a16:creationId xmlns:a16="http://schemas.microsoft.com/office/drawing/2014/main" id="{9D96C377-0C05-D3AC-C6F3-C2E2EB0EF7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119146" y="5247051"/>
              <a:ext cx="138596" cy="138596"/>
            </a:xfrm>
            <a:custGeom>
              <a:avLst/>
              <a:gdLst>
                <a:gd name="T0" fmla="*/ 51 w 55"/>
                <a:gd name="T1" fmla="*/ 55 h 55"/>
                <a:gd name="T2" fmla="*/ 4 w 55"/>
                <a:gd name="T3" fmla="*/ 55 h 55"/>
                <a:gd name="T4" fmla="*/ 1 w 55"/>
                <a:gd name="T5" fmla="*/ 53 h 55"/>
                <a:gd name="T6" fmla="*/ 2 w 55"/>
                <a:gd name="T7" fmla="*/ 48 h 55"/>
                <a:gd name="T8" fmla="*/ 48 w 55"/>
                <a:gd name="T9" fmla="*/ 1 h 55"/>
                <a:gd name="T10" fmla="*/ 53 w 55"/>
                <a:gd name="T11" fmla="*/ 1 h 55"/>
                <a:gd name="T12" fmla="*/ 55 w 55"/>
                <a:gd name="T13" fmla="*/ 4 h 55"/>
                <a:gd name="T14" fmla="*/ 55 w 55"/>
                <a:gd name="T15" fmla="*/ 51 h 55"/>
                <a:gd name="T16" fmla="*/ 51 w 55"/>
                <a:gd name="T17" fmla="*/ 55 h 55"/>
                <a:gd name="T18" fmla="*/ 14 w 55"/>
                <a:gd name="T19" fmla="*/ 47 h 55"/>
                <a:gd name="T20" fmla="*/ 47 w 55"/>
                <a:gd name="T21" fmla="*/ 47 h 55"/>
                <a:gd name="T22" fmla="*/ 47 w 55"/>
                <a:gd name="T23" fmla="*/ 14 h 55"/>
                <a:gd name="T24" fmla="*/ 14 w 55"/>
                <a:gd name="T25" fmla="*/ 4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5" h="55">
                  <a:moveTo>
                    <a:pt x="51" y="55"/>
                  </a:moveTo>
                  <a:cubicBezTo>
                    <a:pt x="4" y="55"/>
                    <a:pt x="4" y="55"/>
                    <a:pt x="4" y="55"/>
                  </a:cubicBezTo>
                  <a:cubicBezTo>
                    <a:pt x="3" y="55"/>
                    <a:pt x="1" y="54"/>
                    <a:pt x="1" y="53"/>
                  </a:cubicBezTo>
                  <a:cubicBezTo>
                    <a:pt x="0" y="51"/>
                    <a:pt x="0" y="49"/>
                    <a:pt x="2" y="48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50" y="0"/>
                    <a:pt x="51" y="0"/>
                    <a:pt x="53" y="1"/>
                  </a:cubicBezTo>
                  <a:cubicBezTo>
                    <a:pt x="54" y="1"/>
                    <a:pt x="55" y="3"/>
                    <a:pt x="55" y="4"/>
                  </a:cubicBezTo>
                  <a:cubicBezTo>
                    <a:pt x="55" y="51"/>
                    <a:pt x="55" y="51"/>
                    <a:pt x="55" y="51"/>
                  </a:cubicBezTo>
                  <a:cubicBezTo>
                    <a:pt x="55" y="53"/>
                    <a:pt x="54" y="55"/>
                    <a:pt x="51" y="55"/>
                  </a:cubicBezTo>
                  <a:close/>
                  <a:moveTo>
                    <a:pt x="14" y="47"/>
                  </a:moveTo>
                  <a:cubicBezTo>
                    <a:pt x="47" y="47"/>
                    <a:pt x="47" y="47"/>
                    <a:pt x="47" y="47"/>
                  </a:cubicBezTo>
                  <a:cubicBezTo>
                    <a:pt x="47" y="14"/>
                    <a:pt x="47" y="14"/>
                    <a:pt x="47" y="14"/>
                  </a:cubicBezTo>
                  <a:lnTo>
                    <a:pt x="14" y="4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3" name="Freeform 191">
              <a:extLst>
                <a:ext uri="{FF2B5EF4-FFF2-40B4-BE49-F238E27FC236}">
                  <a16:creationId xmlns:a16="http://schemas.microsoft.com/office/drawing/2014/main" id="{5BE609C0-A7DB-2CAA-8E49-91E5483564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119146" y="5247051"/>
              <a:ext cx="517698" cy="680751"/>
            </a:xfrm>
            <a:custGeom>
              <a:avLst/>
              <a:gdLst>
                <a:gd name="T0" fmla="*/ 202 w 206"/>
                <a:gd name="T1" fmla="*/ 271 h 271"/>
                <a:gd name="T2" fmla="*/ 4 w 206"/>
                <a:gd name="T3" fmla="*/ 271 h 271"/>
                <a:gd name="T4" fmla="*/ 0 w 206"/>
                <a:gd name="T5" fmla="*/ 267 h 271"/>
                <a:gd name="T6" fmla="*/ 0 w 206"/>
                <a:gd name="T7" fmla="*/ 51 h 271"/>
                <a:gd name="T8" fmla="*/ 2 w 206"/>
                <a:gd name="T9" fmla="*/ 48 h 271"/>
                <a:gd name="T10" fmla="*/ 48 w 206"/>
                <a:gd name="T11" fmla="*/ 1 h 271"/>
                <a:gd name="T12" fmla="*/ 51 w 206"/>
                <a:gd name="T13" fmla="*/ 0 h 271"/>
                <a:gd name="T14" fmla="*/ 202 w 206"/>
                <a:gd name="T15" fmla="*/ 0 h 271"/>
                <a:gd name="T16" fmla="*/ 206 w 206"/>
                <a:gd name="T17" fmla="*/ 4 h 271"/>
                <a:gd name="T18" fmla="*/ 206 w 206"/>
                <a:gd name="T19" fmla="*/ 267 h 271"/>
                <a:gd name="T20" fmla="*/ 202 w 206"/>
                <a:gd name="T21" fmla="*/ 271 h 271"/>
                <a:gd name="T22" fmla="*/ 9 w 206"/>
                <a:gd name="T23" fmla="*/ 263 h 271"/>
                <a:gd name="T24" fmla="*/ 198 w 206"/>
                <a:gd name="T25" fmla="*/ 263 h 271"/>
                <a:gd name="T26" fmla="*/ 198 w 206"/>
                <a:gd name="T27" fmla="*/ 9 h 271"/>
                <a:gd name="T28" fmla="*/ 53 w 206"/>
                <a:gd name="T29" fmla="*/ 9 h 271"/>
                <a:gd name="T30" fmla="*/ 9 w 206"/>
                <a:gd name="T31" fmla="*/ 53 h 271"/>
                <a:gd name="T32" fmla="*/ 9 w 206"/>
                <a:gd name="T33" fmla="*/ 263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06" h="271">
                  <a:moveTo>
                    <a:pt x="202" y="271"/>
                  </a:moveTo>
                  <a:cubicBezTo>
                    <a:pt x="4" y="271"/>
                    <a:pt x="4" y="271"/>
                    <a:pt x="4" y="271"/>
                  </a:cubicBezTo>
                  <a:cubicBezTo>
                    <a:pt x="2" y="271"/>
                    <a:pt x="0" y="269"/>
                    <a:pt x="0" y="267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0"/>
                    <a:pt x="1" y="49"/>
                    <a:pt x="2" y="48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9" y="1"/>
                    <a:pt x="50" y="0"/>
                    <a:pt x="51" y="0"/>
                  </a:cubicBezTo>
                  <a:cubicBezTo>
                    <a:pt x="202" y="0"/>
                    <a:pt x="202" y="0"/>
                    <a:pt x="202" y="0"/>
                  </a:cubicBezTo>
                  <a:cubicBezTo>
                    <a:pt x="204" y="0"/>
                    <a:pt x="206" y="2"/>
                    <a:pt x="206" y="4"/>
                  </a:cubicBezTo>
                  <a:cubicBezTo>
                    <a:pt x="206" y="267"/>
                    <a:pt x="206" y="267"/>
                    <a:pt x="206" y="267"/>
                  </a:cubicBezTo>
                  <a:cubicBezTo>
                    <a:pt x="206" y="269"/>
                    <a:pt x="204" y="271"/>
                    <a:pt x="202" y="271"/>
                  </a:cubicBezTo>
                  <a:close/>
                  <a:moveTo>
                    <a:pt x="9" y="263"/>
                  </a:moveTo>
                  <a:cubicBezTo>
                    <a:pt x="198" y="263"/>
                    <a:pt x="198" y="263"/>
                    <a:pt x="198" y="263"/>
                  </a:cubicBezTo>
                  <a:cubicBezTo>
                    <a:pt x="198" y="9"/>
                    <a:pt x="198" y="9"/>
                    <a:pt x="198" y="9"/>
                  </a:cubicBezTo>
                  <a:cubicBezTo>
                    <a:pt x="53" y="9"/>
                    <a:pt x="53" y="9"/>
                    <a:pt x="53" y="9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9" y="26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4" name="Freeform 192">
              <a:extLst>
                <a:ext uri="{FF2B5EF4-FFF2-40B4-BE49-F238E27FC236}">
                  <a16:creationId xmlns:a16="http://schemas.microsoft.com/office/drawing/2014/main" id="{3DB01377-43FC-5859-CCF1-2A619EE45619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35709" y="5446793"/>
              <a:ext cx="244581" cy="20383"/>
            </a:xfrm>
            <a:custGeom>
              <a:avLst/>
              <a:gdLst>
                <a:gd name="T0" fmla="*/ 93 w 97"/>
                <a:gd name="T1" fmla="*/ 9 h 9"/>
                <a:gd name="T2" fmla="*/ 4 w 97"/>
                <a:gd name="T3" fmla="*/ 9 h 9"/>
                <a:gd name="T4" fmla="*/ 0 w 97"/>
                <a:gd name="T5" fmla="*/ 5 h 9"/>
                <a:gd name="T6" fmla="*/ 4 w 97"/>
                <a:gd name="T7" fmla="*/ 0 h 9"/>
                <a:gd name="T8" fmla="*/ 93 w 97"/>
                <a:gd name="T9" fmla="*/ 0 h 9"/>
                <a:gd name="T10" fmla="*/ 97 w 97"/>
                <a:gd name="T11" fmla="*/ 5 h 9"/>
                <a:gd name="T12" fmla="*/ 93 w 97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7" h="9">
                  <a:moveTo>
                    <a:pt x="93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5" y="0"/>
                    <a:pt x="97" y="2"/>
                    <a:pt x="97" y="5"/>
                  </a:cubicBezTo>
                  <a:cubicBezTo>
                    <a:pt x="97" y="7"/>
                    <a:pt x="95" y="9"/>
                    <a:pt x="9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5" name="Freeform 193">
              <a:extLst>
                <a:ext uri="{FF2B5EF4-FFF2-40B4-BE49-F238E27FC236}">
                  <a16:creationId xmlns:a16="http://schemas.microsoft.com/office/drawing/2014/main" id="{1E626A42-A026-2113-1AA1-73C021B7141C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29467" y="5565006"/>
              <a:ext cx="338338" cy="20383"/>
            </a:xfrm>
            <a:custGeom>
              <a:avLst/>
              <a:gdLst>
                <a:gd name="T0" fmla="*/ 130 w 134"/>
                <a:gd name="T1" fmla="*/ 8 h 8"/>
                <a:gd name="T2" fmla="*/ 4 w 134"/>
                <a:gd name="T3" fmla="*/ 8 h 8"/>
                <a:gd name="T4" fmla="*/ 0 w 134"/>
                <a:gd name="T5" fmla="*/ 4 h 8"/>
                <a:gd name="T6" fmla="*/ 4 w 134"/>
                <a:gd name="T7" fmla="*/ 0 h 8"/>
                <a:gd name="T8" fmla="*/ 130 w 134"/>
                <a:gd name="T9" fmla="*/ 0 h 8"/>
                <a:gd name="T10" fmla="*/ 134 w 134"/>
                <a:gd name="T11" fmla="*/ 4 h 8"/>
                <a:gd name="T12" fmla="*/ 130 w 13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8">
                  <a:moveTo>
                    <a:pt x="130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30" y="0"/>
                    <a:pt x="130" y="0"/>
                    <a:pt x="130" y="0"/>
                  </a:cubicBezTo>
                  <a:cubicBezTo>
                    <a:pt x="132" y="0"/>
                    <a:pt x="134" y="2"/>
                    <a:pt x="134" y="4"/>
                  </a:cubicBezTo>
                  <a:cubicBezTo>
                    <a:pt x="134" y="7"/>
                    <a:pt x="132" y="8"/>
                    <a:pt x="1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6" name="Freeform 194">
              <a:extLst>
                <a:ext uri="{FF2B5EF4-FFF2-40B4-BE49-F238E27FC236}">
                  <a16:creationId xmlns:a16="http://schemas.microsoft.com/office/drawing/2014/main" id="{44EA3F48-1054-938F-6378-EEDAA2B4DE85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29467" y="5683221"/>
              <a:ext cx="338338" cy="20383"/>
            </a:xfrm>
            <a:custGeom>
              <a:avLst/>
              <a:gdLst>
                <a:gd name="T0" fmla="*/ 130 w 134"/>
                <a:gd name="T1" fmla="*/ 8 h 8"/>
                <a:gd name="T2" fmla="*/ 4 w 134"/>
                <a:gd name="T3" fmla="*/ 8 h 8"/>
                <a:gd name="T4" fmla="*/ 0 w 134"/>
                <a:gd name="T5" fmla="*/ 4 h 8"/>
                <a:gd name="T6" fmla="*/ 4 w 134"/>
                <a:gd name="T7" fmla="*/ 0 h 8"/>
                <a:gd name="T8" fmla="*/ 130 w 134"/>
                <a:gd name="T9" fmla="*/ 0 h 8"/>
                <a:gd name="T10" fmla="*/ 134 w 134"/>
                <a:gd name="T11" fmla="*/ 4 h 8"/>
                <a:gd name="T12" fmla="*/ 130 w 13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8">
                  <a:moveTo>
                    <a:pt x="130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30" y="0"/>
                    <a:pt x="130" y="0"/>
                    <a:pt x="130" y="0"/>
                  </a:cubicBezTo>
                  <a:cubicBezTo>
                    <a:pt x="132" y="0"/>
                    <a:pt x="134" y="2"/>
                    <a:pt x="134" y="4"/>
                  </a:cubicBezTo>
                  <a:cubicBezTo>
                    <a:pt x="134" y="6"/>
                    <a:pt x="132" y="8"/>
                    <a:pt x="1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7" name="Freeform 195">
              <a:extLst>
                <a:ext uri="{FF2B5EF4-FFF2-40B4-BE49-F238E27FC236}">
                  <a16:creationId xmlns:a16="http://schemas.microsoft.com/office/drawing/2014/main" id="{5C2FC5D3-C092-1862-35F7-8C11779F2290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29467" y="5801434"/>
              <a:ext cx="224200" cy="20383"/>
            </a:xfrm>
            <a:custGeom>
              <a:avLst/>
              <a:gdLst>
                <a:gd name="T0" fmla="*/ 84 w 89"/>
                <a:gd name="T1" fmla="*/ 8 h 8"/>
                <a:gd name="T2" fmla="*/ 4 w 89"/>
                <a:gd name="T3" fmla="*/ 8 h 8"/>
                <a:gd name="T4" fmla="*/ 0 w 89"/>
                <a:gd name="T5" fmla="*/ 4 h 8"/>
                <a:gd name="T6" fmla="*/ 4 w 89"/>
                <a:gd name="T7" fmla="*/ 0 h 8"/>
                <a:gd name="T8" fmla="*/ 84 w 89"/>
                <a:gd name="T9" fmla="*/ 0 h 8"/>
                <a:gd name="T10" fmla="*/ 89 w 89"/>
                <a:gd name="T11" fmla="*/ 4 h 8"/>
                <a:gd name="T12" fmla="*/ 84 w 89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8">
                  <a:moveTo>
                    <a:pt x="8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7" y="0"/>
                    <a:pt x="89" y="2"/>
                    <a:pt x="89" y="4"/>
                  </a:cubicBezTo>
                  <a:cubicBezTo>
                    <a:pt x="89" y="6"/>
                    <a:pt x="87" y="8"/>
                    <a:pt x="84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3" name="Shape23_20200717_154352">
            <a:extLst>
              <a:ext uri="{FF2B5EF4-FFF2-40B4-BE49-F238E27FC236}">
                <a16:creationId xmlns:a16="http://schemas.microsoft.com/office/drawing/2014/main" id="{4ACA961F-CD69-1615-F82D-2EFD73AFC5DC}"/>
              </a:ext>
            </a:extLst>
          </p:cNvPr>
          <p:cNvGrpSpPr>
            <a:grpSpLocks noChangeAspect="1"/>
          </p:cNvGrpSpPr>
          <p:nvPr/>
        </p:nvGrpSpPr>
        <p:grpSpPr>
          <a:xfrm>
            <a:off x="4558799" y="2537469"/>
            <a:ext cx="472856" cy="611452"/>
            <a:chOff x="-8808433" y="3844787"/>
            <a:chExt cx="472856" cy="611452"/>
          </a:xfrm>
          <a:solidFill>
            <a:schemeClr val="accent1"/>
          </a:solidFill>
        </p:grpSpPr>
        <p:sp>
          <p:nvSpPr>
            <p:cNvPr id="104" name="Freeform 196">
              <a:extLst>
                <a:ext uri="{FF2B5EF4-FFF2-40B4-BE49-F238E27FC236}">
                  <a16:creationId xmlns:a16="http://schemas.microsoft.com/office/drawing/2014/main" id="{899497B5-35F9-DDAF-9102-EB769F926E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8808433" y="3844787"/>
              <a:ext cx="472856" cy="611452"/>
            </a:xfrm>
            <a:custGeom>
              <a:avLst/>
              <a:gdLst>
                <a:gd name="T0" fmla="*/ 184 w 188"/>
                <a:gd name="T1" fmla="*/ 243 h 243"/>
                <a:gd name="T2" fmla="*/ 4 w 188"/>
                <a:gd name="T3" fmla="*/ 243 h 243"/>
                <a:gd name="T4" fmla="*/ 0 w 188"/>
                <a:gd name="T5" fmla="*/ 239 h 243"/>
                <a:gd name="T6" fmla="*/ 0 w 188"/>
                <a:gd name="T7" fmla="*/ 4 h 243"/>
                <a:gd name="T8" fmla="*/ 4 w 188"/>
                <a:gd name="T9" fmla="*/ 0 h 243"/>
                <a:gd name="T10" fmla="*/ 184 w 188"/>
                <a:gd name="T11" fmla="*/ 0 h 243"/>
                <a:gd name="T12" fmla="*/ 188 w 188"/>
                <a:gd name="T13" fmla="*/ 4 h 243"/>
                <a:gd name="T14" fmla="*/ 188 w 188"/>
                <a:gd name="T15" fmla="*/ 239 h 243"/>
                <a:gd name="T16" fmla="*/ 184 w 188"/>
                <a:gd name="T17" fmla="*/ 243 h 243"/>
                <a:gd name="T18" fmla="*/ 8 w 188"/>
                <a:gd name="T19" fmla="*/ 235 h 243"/>
                <a:gd name="T20" fmla="*/ 180 w 188"/>
                <a:gd name="T21" fmla="*/ 235 h 243"/>
                <a:gd name="T22" fmla="*/ 180 w 188"/>
                <a:gd name="T23" fmla="*/ 8 h 243"/>
                <a:gd name="T24" fmla="*/ 8 w 188"/>
                <a:gd name="T25" fmla="*/ 8 h 243"/>
                <a:gd name="T26" fmla="*/ 8 w 188"/>
                <a:gd name="T27" fmla="*/ 23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" h="243">
                  <a:moveTo>
                    <a:pt x="184" y="243"/>
                  </a:moveTo>
                  <a:cubicBezTo>
                    <a:pt x="4" y="243"/>
                    <a:pt x="4" y="243"/>
                    <a:pt x="4" y="243"/>
                  </a:cubicBezTo>
                  <a:cubicBezTo>
                    <a:pt x="2" y="243"/>
                    <a:pt x="0" y="241"/>
                    <a:pt x="0" y="23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86" y="0"/>
                    <a:pt x="188" y="1"/>
                    <a:pt x="188" y="4"/>
                  </a:cubicBezTo>
                  <a:cubicBezTo>
                    <a:pt x="188" y="239"/>
                    <a:pt x="188" y="239"/>
                    <a:pt x="188" y="239"/>
                  </a:cubicBezTo>
                  <a:cubicBezTo>
                    <a:pt x="188" y="241"/>
                    <a:pt x="186" y="243"/>
                    <a:pt x="184" y="243"/>
                  </a:cubicBezTo>
                  <a:close/>
                  <a:moveTo>
                    <a:pt x="8" y="235"/>
                  </a:moveTo>
                  <a:cubicBezTo>
                    <a:pt x="180" y="235"/>
                    <a:pt x="180" y="235"/>
                    <a:pt x="180" y="235"/>
                  </a:cubicBezTo>
                  <a:cubicBezTo>
                    <a:pt x="180" y="8"/>
                    <a:pt x="180" y="8"/>
                    <a:pt x="180" y="8"/>
                  </a:cubicBezTo>
                  <a:cubicBezTo>
                    <a:pt x="8" y="8"/>
                    <a:pt x="8" y="8"/>
                    <a:pt x="8" y="8"/>
                  </a:cubicBezTo>
                  <a:lnTo>
                    <a:pt x="8" y="2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5" name="Freeform 197">
              <a:extLst>
                <a:ext uri="{FF2B5EF4-FFF2-40B4-BE49-F238E27FC236}">
                  <a16:creationId xmlns:a16="http://schemas.microsoft.com/office/drawing/2014/main" id="{9B5F012D-63AA-17D9-CCC5-943F7E59DA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8808433" y="3844787"/>
              <a:ext cx="472856" cy="158979"/>
            </a:xfrm>
            <a:custGeom>
              <a:avLst/>
              <a:gdLst>
                <a:gd name="T0" fmla="*/ 184 w 188"/>
                <a:gd name="T1" fmla="*/ 62 h 62"/>
                <a:gd name="T2" fmla="*/ 4 w 188"/>
                <a:gd name="T3" fmla="*/ 62 h 62"/>
                <a:gd name="T4" fmla="*/ 0 w 188"/>
                <a:gd name="T5" fmla="*/ 58 h 62"/>
                <a:gd name="T6" fmla="*/ 0 w 188"/>
                <a:gd name="T7" fmla="*/ 4 h 62"/>
                <a:gd name="T8" fmla="*/ 4 w 188"/>
                <a:gd name="T9" fmla="*/ 0 h 62"/>
                <a:gd name="T10" fmla="*/ 184 w 188"/>
                <a:gd name="T11" fmla="*/ 0 h 62"/>
                <a:gd name="T12" fmla="*/ 188 w 188"/>
                <a:gd name="T13" fmla="*/ 4 h 62"/>
                <a:gd name="T14" fmla="*/ 188 w 188"/>
                <a:gd name="T15" fmla="*/ 58 h 62"/>
                <a:gd name="T16" fmla="*/ 184 w 188"/>
                <a:gd name="T17" fmla="*/ 62 h 62"/>
                <a:gd name="T18" fmla="*/ 8 w 188"/>
                <a:gd name="T19" fmla="*/ 54 h 62"/>
                <a:gd name="T20" fmla="*/ 180 w 188"/>
                <a:gd name="T21" fmla="*/ 54 h 62"/>
                <a:gd name="T22" fmla="*/ 180 w 188"/>
                <a:gd name="T23" fmla="*/ 8 h 62"/>
                <a:gd name="T24" fmla="*/ 8 w 188"/>
                <a:gd name="T25" fmla="*/ 8 h 62"/>
                <a:gd name="T26" fmla="*/ 8 w 188"/>
                <a:gd name="T27" fmla="*/ 5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" h="62">
                  <a:moveTo>
                    <a:pt x="184" y="62"/>
                  </a:moveTo>
                  <a:cubicBezTo>
                    <a:pt x="4" y="62"/>
                    <a:pt x="4" y="62"/>
                    <a:pt x="4" y="62"/>
                  </a:cubicBezTo>
                  <a:cubicBezTo>
                    <a:pt x="2" y="62"/>
                    <a:pt x="0" y="60"/>
                    <a:pt x="0" y="5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86" y="0"/>
                    <a:pt x="188" y="1"/>
                    <a:pt x="188" y="4"/>
                  </a:cubicBezTo>
                  <a:cubicBezTo>
                    <a:pt x="188" y="58"/>
                    <a:pt x="188" y="58"/>
                    <a:pt x="188" y="58"/>
                  </a:cubicBezTo>
                  <a:cubicBezTo>
                    <a:pt x="188" y="60"/>
                    <a:pt x="186" y="62"/>
                    <a:pt x="184" y="62"/>
                  </a:cubicBezTo>
                  <a:close/>
                  <a:moveTo>
                    <a:pt x="8" y="54"/>
                  </a:moveTo>
                  <a:cubicBezTo>
                    <a:pt x="180" y="54"/>
                    <a:pt x="180" y="54"/>
                    <a:pt x="180" y="54"/>
                  </a:cubicBezTo>
                  <a:cubicBezTo>
                    <a:pt x="180" y="8"/>
                    <a:pt x="180" y="8"/>
                    <a:pt x="180" y="8"/>
                  </a:cubicBezTo>
                  <a:cubicBezTo>
                    <a:pt x="8" y="8"/>
                    <a:pt x="8" y="8"/>
                    <a:pt x="8" y="8"/>
                  </a:cubicBezTo>
                  <a:lnTo>
                    <a:pt x="8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6" name="Freeform 198">
              <a:extLst>
                <a:ext uri="{FF2B5EF4-FFF2-40B4-BE49-F238E27FC236}">
                  <a16:creationId xmlns:a16="http://schemas.microsoft.com/office/drawing/2014/main" id="{531B3A1D-122E-DE13-D1D3-3269579D979D}"/>
                </a:ext>
              </a:extLst>
            </p:cNvPr>
            <p:cNvSpPr>
              <a:spLocks/>
            </p:cNvSpPr>
            <p:nvPr/>
          </p:nvSpPr>
          <p:spPr bwMode="auto">
            <a:xfrm>
              <a:off x="-8584235" y="3983383"/>
              <a:ext cx="20383" cy="472856"/>
            </a:xfrm>
            <a:custGeom>
              <a:avLst/>
              <a:gdLst>
                <a:gd name="T0" fmla="*/ 4 w 8"/>
                <a:gd name="T1" fmla="*/ 188 h 188"/>
                <a:gd name="T2" fmla="*/ 0 w 8"/>
                <a:gd name="T3" fmla="*/ 184 h 188"/>
                <a:gd name="T4" fmla="*/ 0 w 8"/>
                <a:gd name="T5" fmla="*/ 4 h 188"/>
                <a:gd name="T6" fmla="*/ 4 w 8"/>
                <a:gd name="T7" fmla="*/ 0 h 188"/>
                <a:gd name="T8" fmla="*/ 8 w 8"/>
                <a:gd name="T9" fmla="*/ 4 h 188"/>
                <a:gd name="T10" fmla="*/ 8 w 8"/>
                <a:gd name="T11" fmla="*/ 184 h 188"/>
                <a:gd name="T12" fmla="*/ 4 w 8"/>
                <a:gd name="T13" fmla="*/ 18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88">
                  <a:moveTo>
                    <a:pt x="4" y="188"/>
                  </a:moveTo>
                  <a:cubicBezTo>
                    <a:pt x="2" y="188"/>
                    <a:pt x="0" y="186"/>
                    <a:pt x="0" y="18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184"/>
                    <a:pt x="8" y="184"/>
                    <a:pt x="8" y="184"/>
                  </a:cubicBezTo>
                  <a:cubicBezTo>
                    <a:pt x="8" y="186"/>
                    <a:pt x="6" y="188"/>
                    <a:pt x="4" y="18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7" name="Freeform 199">
              <a:extLst>
                <a:ext uri="{FF2B5EF4-FFF2-40B4-BE49-F238E27FC236}">
                  <a16:creationId xmlns:a16="http://schemas.microsoft.com/office/drawing/2014/main" id="{F80C03B6-1BC7-31E6-C33F-83708585F7AF}"/>
                </a:ext>
              </a:extLst>
            </p:cNvPr>
            <p:cNvSpPr>
              <a:spLocks/>
            </p:cNvSpPr>
            <p:nvPr/>
          </p:nvSpPr>
          <p:spPr bwMode="auto">
            <a:xfrm>
              <a:off x="-8470098" y="3983383"/>
              <a:ext cx="20383" cy="472856"/>
            </a:xfrm>
            <a:custGeom>
              <a:avLst/>
              <a:gdLst>
                <a:gd name="T0" fmla="*/ 4 w 8"/>
                <a:gd name="T1" fmla="*/ 188 h 188"/>
                <a:gd name="T2" fmla="*/ 0 w 8"/>
                <a:gd name="T3" fmla="*/ 184 h 188"/>
                <a:gd name="T4" fmla="*/ 0 w 8"/>
                <a:gd name="T5" fmla="*/ 4 h 188"/>
                <a:gd name="T6" fmla="*/ 4 w 8"/>
                <a:gd name="T7" fmla="*/ 0 h 188"/>
                <a:gd name="T8" fmla="*/ 8 w 8"/>
                <a:gd name="T9" fmla="*/ 4 h 188"/>
                <a:gd name="T10" fmla="*/ 8 w 8"/>
                <a:gd name="T11" fmla="*/ 184 h 188"/>
                <a:gd name="T12" fmla="*/ 4 w 8"/>
                <a:gd name="T13" fmla="*/ 18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88">
                  <a:moveTo>
                    <a:pt x="4" y="188"/>
                  </a:moveTo>
                  <a:cubicBezTo>
                    <a:pt x="2" y="188"/>
                    <a:pt x="0" y="186"/>
                    <a:pt x="0" y="18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184"/>
                    <a:pt x="8" y="184"/>
                    <a:pt x="8" y="184"/>
                  </a:cubicBezTo>
                  <a:cubicBezTo>
                    <a:pt x="8" y="186"/>
                    <a:pt x="6" y="188"/>
                    <a:pt x="4" y="18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8" name="Freeform 200">
              <a:extLst>
                <a:ext uri="{FF2B5EF4-FFF2-40B4-BE49-F238E27FC236}">
                  <a16:creationId xmlns:a16="http://schemas.microsoft.com/office/drawing/2014/main" id="{2DB0E0B5-EDF0-03F0-E59B-C58F607E89C5}"/>
                </a:ext>
              </a:extLst>
            </p:cNvPr>
            <p:cNvSpPr>
              <a:spLocks/>
            </p:cNvSpPr>
            <p:nvPr/>
          </p:nvSpPr>
          <p:spPr bwMode="auto">
            <a:xfrm>
              <a:off x="-8694295" y="3983383"/>
              <a:ext cx="20383" cy="472856"/>
            </a:xfrm>
            <a:custGeom>
              <a:avLst/>
              <a:gdLst>
                <a:gd name="T0" fmla="*/ 4 w 8"/>
                <a:gd name="T1" fmla="*/ 188 h 188"/>
                <a:gd name="T2" fmla="*/ 0 w 8"/>
                <a:gd name="T3" fmla="*/ 184 h 188"/>
                <a:gd name="T4" fmla="*/ 0 w 8"/>
                <a:gd name="T5" fmla="*/ 4 h 188"/>
                <a:gd name="T6" fmla="*/ 4 w 8"/>
                <a:gd name="T7" fmla="*/ 0 h 188"/>
                <a:gd name="T8" fmla="*/ 8 w 8"/>
                <a:gd name="T9" fmla="*/ 4 h 188"/>
                <a:gd name="T10" fmla="*/ 8 w 8"/>
                <a:gd name="T11" fmla="*/ 184 h 188"/>
                <a:gd name="T12" fmla="*/ 4 w 8"/>
                <a:gd name="T13" fmla="*/ 18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88">
                  <a:moveTo>
                    <a:pt x="4" y="188"/>
                  </a:moveTo>
                  <a:cubicBezTo>
                    <a:pt x="2" y="188"/>
                    <a:pt x="0" y="186"/>
                    <a:pt x="0" y="18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184"/>
                    <a:pt x="8" y="184"/>
                    <a:pt x="8" y="184"/>
                  </a:cubicBezTo>
                  <a:cubicBezTo>
                    <a:pt x="8" y="186"/>
                    <a:pt x="6" y="188"/>
                    <a:pt x="4" y="18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9" name="Freeform 201">
              <a:extLst>
                <a:ext uri="{FF2B5EF4-FFF2-40B4-BE49-F238E27FC236}">
                  <a16:creationId xmlns:a16="http://schemas.microsoft.com/office/drawing/2014/main" id="{D3B20AE5-6A00-ECB8-3CF0-1E90960115CE}"/>
                </a:ext>
              </a:extLst>
            </p:cNvPr>
            <p:cNvSpPr>
              <a:spLocks/>
            </p:cNvSpPr>
            <p:nvPr/>
          </p:nvSpPr>
          <p:spPr bwMode="auto">
            <a:xfrm>
              <a:off x="-8808433" y="4207584"/>
              <a:ext cx="472856" cy="20383"/>
            </a:xfrm>
            <a:custGeom>
              <a:avLst/>
              <a:gdLst>
                <a:gd name="T0" fmla="*/ 184 w 188"/>
                <a:gd name="T1" fmla="*/ 8 h 8"/>
                <a:gd name="T2" fmla="*/ 4 w 188"/>
                <a:gd name="T3" fmla="*/ 8 h 8"/>
                <a:gd name="T4" fmla="*/ 0 w 188"/>
                <a:gd name="T5" fmla="*/ 4 h 8"/>
                <a:gd name="T6" fmla="*/ 4 w 188"/>
                <a:gd name="T7" fmla="*/ 0 h 8"/>
                <a:gd name="T8" fmla="*/ 184 w 188"/>
                <a:gd name="T9" fmla="*/ 0 h 8"/>
                <a:gd name="T10" fmla="*/ 188 w 188"/>
                <a:gd name="T11" fmla="*/ 4 h 8"/>
                <a:gd name="T12" fmla="*/ 184 w 188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8" h="8">
                  <a:moveTo>
                    <a:pt x="18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86" y="0"/>
                    <a:pt x="188" y="2"/>
                    <a:pt x="188" y="4"/>
                  </a:cubicBezTo>
                  <a:cubicBezTo>
                    <a:pt x="188" y="6"/>
                    <a:pt x="186" y="8"/>
                    <a:pt x="184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0" name="Freeform 202">
              <a:extLst>
                <a:ext uri="{FF2B5EF4-FFF2-40B4-BE49-F238E27FC236}">
                  <a16:creationId xmlns:a16="http://schemas.microsoft.com/office/drawing/2014/main" id="{0F987B95-3167-109B-DFDD-4DA1E91A43F0}"/>
                </a:ext>
              </a:extLst>
            </p:cNvPr>
            <p:cNvSpPr>
              <a:spLocks/>
            </p:cNvSpPr>
            <p:nvPr/>
          </p:nvSpPr>
          <p:spPr bwMode="auto">
            <a:xfrm>
              <a:off x="-8808433" y="4321721"/>
              <a:ext cx="472856" cy="20383"/>
            </a:xfrm>
            <a:custGeom>
              <a:avLst/>
              <a:gdLst>
                <a:gd name="T0" fmla="*/ 184 w 188"/>
                <a:gd name="T1" fmla="*/ 8 h 8"/>
                <a:gd name="T2" fmla="*/ 4 w 188"/>
                <a:gd name="T3" fmla="*/ 8 h 8"/>
                <a:gd name="T4" fmla="*/ 0 w 188"/>
                <a:gd name="T5" fmla="*/ 4 h 8"/>
                <a:gd name="T6" fmla="*/ 4 w 188"/>
                <a:gd name="T7" fmla="*/ 0 h 8"/>
                <a:gd name="T8" fmla="*/ 184 w 188"/>
                <a:gd name="T9" fmla="*/ 0 h 8"/>
                <a:gd name="T10" fmla="*/ 188 w 188"/>
                <a:gd name="T11" fmla="*/ 4 h 8"/>
                <a:gd name="T12" fmla="*/ 184 w 188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8" h="8">
                  <a:moveTo>
                    <a:pt x="18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86" y="0"/>
                    <a:pt x="188" y="2"/>
                    <a:pt x="188" y="4"/>
                  </a:cubicBezTo>
                  <a:cubicBezTo>
                    <a:pt x="188" y="6"/>
                    <a:pt x="186" y="8"/>
                    <a:pt x="184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1" name="Freeform 203">
              <a:extLst>
                <a:ext uri="{FF2B5EF4-FFF2-40B4-BE49-F238E27FC236}">
                  <a16:creationId xmlns:a16="http://schemas.microsoft.com/office/drawing/2014/main" id="{D2E1CE9A-1CA4-637E-7DD4-FA04FCEB4F58}"/>
                </a:ext>
              </a:extLst>
            </p:cNvPr>
            <p:cNvSpPr>
              <a:spLocks/>
            </p:cNvSpPr>
            <p:nvPr/>
          </p:nvSpPr>
          <p:spPr bwMode="auto">
            <a:xfrm>
              <a:off x="-8808433" y="4093446"/>
              <a:ext cx="472856" cy="20383"/>
            </a:xfrm>
            <a:custGeom>
              <a:avLst/>
              <a:gdLst>
                <a:gd name="T0" fmla="*/ 184 w 188"/>
                <a:gd name="T1" fmla="*/ 8 h 8"/>
                <a:gd name="T2" fmla="*/ 4 w 188"/>
                <a:gd name="T3" fmla="*/ 8 h 8"/>
                <a:gd name="T4" fmla="*/ 0 w 188"/>
                <a:gd name="T5" fmla="*/ 4 h 8"/>
                <a:gd name="T6" fmla="*/ 4 w 188"/>
                <a:gd name="T7" fmla="*/ 0 h 8"/>
                <a:gd name="T8" fmla="*/ 184 w 188"/>
                <a:gd name="T9" fmla="*/ 0 h 8"/>
                <a:gd name="T10" fmla="*/ 188 w 188"/>
                <a:gd name="T11" fmla="*/ 4 h 8"/>
                <a:gd name="T12" fmla="*/ 184 w 188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8" h="8">
                  <a:moveTo>
                    <a:pt x="18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86" y="0"/>
                    <a:pt x="188" y="1"/>
                    <a:pt x="188" y="4"/>
                  </a:cubicBezTo>
                  <a:cubicBezTo>
                    <a:pt x="188" y="6"/>
                    <a:pt x="186" y="8"/>
                    <a:pt x="184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EE95C28C-168F-5AA1-1629-F4A0AC349168}"/>
              </a:ext>
            </a:extLst>
          </p:cNvPr>
          <p:cNvGrpSpPr/>
          <p:nvPr/>
        </p:nvGrpSpPr>
        <p:grpSpPr>
          <a:xfrm>
            <a:off x="8404151" y="3847063"/>
            <a:ext cx="605920" cy="575190"/>
            <a:chOff x="3844166" y="605079"/>
            <a:chExt cx="4494802" cy="4266883"/>
          </a:xfrm>
          <a:solidFill>
            <a:schemeClr val="accent1"/>
          </a:solidFill>
        </p:grpSpPr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B10C2216-B380-98D6-9CB8-922D83BCCDA1}"/>
                </a:ext>
              </a:extLst>
            </p:cNvPr>
            <p:cNvSpPr/>
            <p:nvPr/>
          </p:nvSpPr>
          <p:spPr>
            <a:xfrm>
              <a:off x="4071533" y="605079"/>
              <a:ext cx="4046220" cy="2341517"/>
            </a:xfrm>
            <a:custGeom>
              <a:avLst/>
              <a:gdLst>
                <a:gd name="connsiteX0" fmla="*/ 1370997 w 4046220"/>
                <a:gd name="connsiteY0" fmla="*/ 2251768 h 2341517"/>
                <a:gd name="connsiteX1" fmla="*/ 1456263 w 4046220"/>
                <a:gd name="connsiteY1" fmla="*/ 2337033 h 2341517"/>
                <a:gd name="connsiteX2" fmla="*/ 3956396 w 4046220"/>
                <a:gd name="connsiteY2" fmla="*/ 2337033 h 2341517"/>
                <a:gd name="connsiteX3" fmla="*/ 4041623 w 4046220"/>
                <a:gd name="connsiteY3" fmla="*/ 2251768 h 2341517"/>
                <a:gd name="connsiteX4" fmla="*/ 4041623 w 4046220"/>
                <a:gd name="connsiteY4" fmla="*/ 92575 h 2341517"/>
                <a:gd name="connsiteX5" fmla="*/ 3956396 w 4046220"/>
                <a:gd name="connsiteY5" fmla="*/ 7348 h 2341517"/>
                <a:gd name="connsiteX6" fmla="*/ 1456263 w 4046220"/>
                <a:gd name="connsiteY6" fmla="*/ 7348 h 2341517"/>
                <a:gd name="connsiteX7" fmla="*/ 1371036 w 4046220"/>
                <a:gd name="connsiteY7" fmla="*/ 92575 h 2341517"/>
                <a:gd name="connsiteX8" fmla="*/ 1371036 w 4046220"/>
                <a:gd name="connsiteY8" fmla="*/ 916495 h 2341517"/>
                <a:gd name="connsiteX9" fmla="*/ 774439 w 4046220"/>
                <a:gd name="connsiteY9" fmla="*/ 916495 h 2341517"/>
                <a:gd name="connsiteX10" fmla="*/ 736322 w 4046220"/>
                <a:gd name="connsiteY10" fmla="*/ 925489 h 2341517"/>
                <a:gd name="connsiteX11" fmla="*/ 547149 w 4046220"/>
                <a:gd name="connsiteY11" fmla="*/ 1020092 h 2341517"/>
                <a:gd name="connsiteX12" fmla="*/ 357976 w 4046220"/>
                <a:gd name="connsiteY12" fmla="*/ 925489 h 2341517"/>
                <a:gd name="connsiteX13" fmla="*/ 319859 w 4046220"/>
                <a:gd name="connsiteY13" fmla="*/ 916495 h 2341517"/>
                <a:gd name="connsiteX14" fmla="*/ 92575 w 4046220"/>
                <a:gd name="connsiteY14" fmla="*/ 916495 h 2341517"/>
                <a:gd name="connsiteX15" fmla="*/ 7348 w 4046220"/>
                <a:gd name="connsiteY15" fmla="*/ 1001723 h 2341517"/>
                <a:gd name="connsiteX16" fmla="*/ 7348 w 4046220"/>
                <a:gd name="connsiteY16" fmla="*/ 2251740 h 2341517"/>
                <a:gd name="connsiteX17" fmla="*/ 92575 w 4046220"/>
                <a:gd name="connsiteY17" fmla="*/ 2337006 h 2341517"/>
                <a:gd name="connsiteX18" fmla="*/ 1001721 w 4046220"/>
                <a:gd name="connsiteY18" fmla="*/ 2337006 h 2341517"/>
                <a:gd name="connsiteX19" fmla="*/ 1086948 w 4046220"/>
                <a:gd name="connsiteY19" fmla="*/ 2251740 h 2341517"/>
                <a:gd name="connsiteX20" fmla="*/ 1086948 w 4046220"/>
                <a:gd name="connsiteY20" fmla="*/ 1533414 h 2341517"/>
                <a:gd name="connsiteX21" fmla="*/ 1371065 w 4046220"/>
                <a:gd name="connsiteY21" fmla="*/ 1504979 h 2341517"/>
                <a:gd name="connsiteX22" fmla="*/ 1541487 w 4046220"/>
                <a:gd name="connsiteY22" fmla="*/ 177810 h 2341517"/>
                <a:gd name="connsiteX23" fmla="*/ 3871150 w 4046220"/>
                <a:gd name="connsiteY23" fmla="*/ 177810 h 2341517"/>
                <a:gd name="connsiteX24" fmla="*/ 3871150 w 4046220"/>
                <a:gd name="connsiteY24" fmla="*/ 2166532 h 2341517"/>
                <a:gd name="connsiteX25" fmla="*/ 1541487 w 4046220"/>
                <a:gd name="connsiteY25" fmla="*/ 2166532 h 2341517"/>
                <a:gd name="connsiteX26" fmla="*/ 1541487 w 4046220"/>
                <a:gd name="connsiteY26" fmla="*/ 1487963 h 2341517"/>
                <a:gd name="connsiteX27" fmla="*/ 2146618 w 4046220"/>
                <a:gd name="connsiteY27" fmla="*/ 1427419 h 2341517"/>
                <a:gd name="connsiteX28" fmla="*/ 2146579 w 4046220"/>
                <a:gd name="connsiteY28" fmla="*/ 1427419 h 2341517"/>
                <a:gd name="connsiteX29" fmla="*/ 2223349 w 4046220"/>
                <a:gd name="connsiteY29" fmla="*/ 1342651 h 2341517"/>
                <a:gd name="connsiteX30" fmla="*/ 2223349 w 4046220"/>
                <a:gd name="connsiteY30" fmla="*/ 1228838 h 2341517"/>
                <a:gd name="connsiteX31" fmla="*/ 3420462 w 4046220"/>
                <a:gd name="connsiteY31" fmla="*/ 739706 h 2341517"/>
                <a:gd name="connsiteX32" fmla="*/ 3420424 w 4046220"/>
                <a:gd name="connsiteY32" fmla="*/ 739706 h 2341517"/>
                <a:gd name="connsiteX33" fmla="*/ 3467113 w 4046220"/>
                <a:gd name="connsiteY33" fmla="*/ 628528 h 2341517"/>
                <a:gd name="connsiteX34" fmla="*/ 3355935 w 4046220"/>
                <a:gd name="connsiteY34" fmla="*/ 581877 h 2341517"/>
                <a:gd name="connsiteX35" fmla="*/ 2223287 w 4046220"/>
                <a:gd name="connsiteY35" fmla="*/ 1044674 h 2341517"/>
                <a:gd name="connsiteX36" fmla="*/ 2223287 w 4046220"/>
                <a:gd name="connsiteY36" fmla="*/ 1001735 h 2341517"/>
                <a:gd name="connsiteX37" fmla="*/ 2223326 w 4046220"/>
                <a:gd name="connsiteY37" fmla="*/ 1001697 h 2341517"/>
                <a:gd name="connsiteX38" fmla="*/ 2138060 w 4046220"/>
                <a:gd name="connsiteY38" fmla="*/ 916470 h 2341517"/>
                <a:gd name="connsiteX39" fmla="*/ 1541463 w 4046220"/>
                <a:gd name="connsiteY39" fmla="*/ 916470 h 2341517"/>
                <a:gd name="connsiteX40" fmla="*/ 993190 w 4046220"/>
                <a:gd name="connsiteY40" fmla="*/ 1371494 h 2341517"/>
                <a:gd name="connsiteX41" fmla="*/ 993190 w 4046220"/>
                <a:gd name="connsiteY41" fmla="*/ 1371533 h 2341517"/>
                <a:gd name="connsiteX42" fmla="*/ 916459 w 4046220"/>
                <a:gd name="connsiteY42" fmla="*/ 1456300 h 2341517"/>
                <a:gd name="connsiteX43" fmla="*/ 916459 w 4046220"/>
                <a:gd name="connsiteY43" fmla="*/ 2166554 h 2341517"/>
                <a:gd name="connsiteX44" fmla="*/ 177803 w 4046220"/>
                <a:gd name="connsiteY44" fmla="*/ 2166554 h 2341517"/>
                <a:gd name="connsiteX45" fmla="*/ 177765 w 4046220"/>
                <a:gd name="connsiteY45" fmla="*/ 1086909 h 2341517"/>
                <a:gd name="connsiteX46" fmla="*/ 299691 w 4046220"/>
                <a:gd name="connsiteY46" fmla="*/ 1086909 h 2341517"/>
                <a:gd name="connsiteX47" fmla="*/ 508987 w 4046220"/>
                <a:gd name="connsiteY47" fmla="*/ 1191581 h 2341517"/>
                <a:gd name="connsiteX48" fmla="*/ 585221 w 4046220"/>
                <a:gd name="connsiteY48" fmla="*/ 1191581 h 2341517"/>
                <a:gd name="connsiteX49" fmla="*/ 794517 w 4046220"/>
                <a:gd name="connsiteY49" fmla="*/ 1086909 h 2341517"/>
                <a:gd name="connsiteX50" fmla="*/ 2052862 w 4046220"/>
                <a:gd name="connsiteY50" fmla="*/ 1086909 h 2341517"/>
                <a:gd name="connsiteX51" fmla="*/ 2052862 w 4046220"/>
                <a:gd name="connsiteY51" fmla="*/ 1265481 h 2341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4046220" h="2341517">
                  <a:moveTo>
                    <a:pt x="1370997" y="2251768"/>
                  </a:moveTo>
                  <a:cubicBezTo>
                    <a:pt x="1371036" y="2298840"/>
                    <a:pt x="1409191" y="2336995"/>
                    <a:pt x="1456263" y="2337033"/>
                  </a:cubicBezTo>
                  <a:lnTo>
                    <a:pt x="3956396" y="2337033"/>
                  </a:lnTo>
                  <a:cubicBezTo>
                    <a:pt x="4003468" y="2336995"/>
                    <a:pt x="4041623" y="2298840"/>
                    <a:pt x="4041623" y="2251768"/>
                  </a:cubicBezTo>
                  <a:lnTo>
                    <a:pt x="4041623" y="92575"/>
                  </a:lnTo>
                  <a:cubicBezTo>
                    <a:pt x="4041623" y="45503"/>
                    <a:pt x="4003468" y="7386"/>
                    <a:pt x="3956396" y="7348"/>
                  </a:cubicBezTo>
                  <a:lnTo>
                    <a:pt x="1456263" y="7348"/>
                  </a:lnTo>
                  <a:cubicBezTo>
                    <a:pt x="1409229" y="7386"/>
                    <a:pt x="1371074" y="45503"/>
                    <a:pt x="1371036" y="92575"/>
                  </a:cubicBezTo>
                  <a:lnTo>
                    <a:pt x="1371036" y="916495"/>
                  </a:lnTo>
                  <a:lnTo>
                    <a:pt x="774439" y="916495"/>
                  </a:lnTo>
                  <a:cubicBezTo>
                    <a:pt x="761197" y="916495"/>
                    <a:pt x="748147" y="919595"/>
                    <a:pt x="736322" y="925489"/>
                  </a:cubicBezTo>
                  <a:lnTo>
                    <a:pt x="547149" y="1020092"/>
                  </a:lnTo>
                  <a:lnTo>
                    <a:pt x="357976" y="925489"/>
                  </a:lnTo>
                  <a:cubicBezTo>
                    <a:pt x="346113" y="919595"/>
                    <a:pt x="333062" y="916495"/>
                    <a:pt x="319859" y="916495"/>
                  </a:cubicBezTo>
                  <a:lnTo>
                    <a:pt x="92575" y="916495"/>
                  </a:lnTo>
                  <a:cubicBezTo>
                    <a:pt x="45503" y="916495"/>
                    <a:pt x="7348" y="954650"/>
                    <a:pt x="7348" y="1001723"/>
                  </a:cubicBezTo>
                  <a:lnTo>
                    <a:pt x="7348" y="2251740"/>
                  </a:lnTo>
                  <a:cubicBezTo>
                    <a:pt x="7348" y="2298812"/>
                    <a:pt x="45503" y="2336967"/>
                    <a:pt x="92575" y="2337006"/>
                  </a:cubicBezTo>
                  <a:lnTo>
                    <a:pt x="1001721" y="2337006"/>
                  </a:lnTo>
                  <a:cubicBezTo>
                    <a:pt x="1048793" y="2336967"/>
                    <a:pt x="1086910" y="2298812"/>
                    <a:pt x="1086948" y="2251740"/>
                  </a:cubicBezTo>
                  <a:lnTo>
                    <a:pt x="1086948" y="1533414"/>
                  </a:lnTo>
                  <a:lnTo>
                    <a:pt x="1371065" y="1504979"/>
                  </a:lnTo>
                  <a:close/>
                  <a:moveTo>
                    <a:pt x="1541487" y="177810"/>
                  </a:moveTo>
                  <a:lnTo>
                    <a:pt x="3871150" y="177810"/>
                  </a:lnTo>
                  <a:lnTo>
                    <a:pt x="3871150" y="2166532"/>
                  </a:lnTo>
                  <a:lnTo>
                    <a:pt x="1541487" y="2166532"/>
                  </a:lnTo>
                  <a:lnTo>
                    <a:pt x="1541487" y="1487963"/>
                  </a:lnTo>
                  <a:lnTo>
                    <a:pt x="2146618" y="1427419"/>
                  </a:lnTo>
                  <a:lnTo>
                    <a:pt x="2146579" y="1427419"/>
                  </a:lnTo>
                  <a:cubicBezTo>
                    <a:pt x="2190169" y="1423095"/>
                    <a:pt x="2223349" y="1386432"/>
                    <a:pt x="2223349" y="1342651"/>
                  </a:cubicBezTo>
                  <a:lnTo>
                    <a:pt x="2223349" y="1228838"/>
                  </a:lnTo>
                  <a:lnTo>
                    <a:pt x="3420462" y="739706"/>
                  </a:lnTo>
                  <a:lnTo>
                    <a:pt x="3420424" y="739706"/>
                  </a:lnTo>
                  <a:cubicBezTo>
                    <a:pt x="3464013" y="721872"/>
                    <a:pt x="3484908" y="672121"/>
                    <a:pt x="3467113" y="628528"/>
                  </a:cubicBezTo>
                  <a:cubicBezTo>
                    <a:pt x="3449279" y="584977"/>
                    <a:pt x="3399528" y="564081"/>
                    <a:pt x="3355935" y="581877"/>
                  </a:cubicBezTo>
                  <a:lnTo>
                    <a:pt x="2223287" y="1044674"/>
                  </a:lnTo>
                  <a:lnTo>
                    <a:pt x="2223287" y="1001735"/>
                  </a:lnTo>
                  <a:lnTo>
                    <a:pt x="2223326" y="1001697"/>
                  </a:lnTo>
                  <a:cubicBezTo>
                    <a:pt x="2223287" y="954625"/>
                    <a:pt x="2185132" y="916470"/>
                    <a:pt x="2138060" y="916470"/>
                  </a:cubicBezTo>
                  <a:lnTo>
                    <a:pt x="1541463" y="916470"/>
                  </a:lnTo>
                  <a:close/>
                  <a:moveTo>
                    <a:pt x="993190" y="1371494"/>
                  </a:moveTo>
                  <a:lnTo>
                    <a:pt x="993190" y="1371533"/>
                  </a:lnTo>
                  <a:cubicBezTo>
                    <a:pt x="949601" y="1375857"/>
                    <a:pt x="916421" y="1412520"/>
                    <a:pt x="916459" y="1456300"/>
                  </a:cubicBezTo>
                  <a:lnTo>
                    <a:pt x="916459" y="2166554"/>
                  </a:lnTo>
                  <a:lnTo>
                    <a:pt x="177803" y="2166554"/>
                  </a:lnTo>
                  <a:lnTo>
                    <a:pt x="177765" y="1086909"/>
                  </a:lnTo>
                  <a:lnTo>
                    <a:pt x="299691" y="1086909"/>
                  </a:lnTo>
                  <a:lnTo>
                    <a:pt x="508987" y="1191581"/>
                  </a:lnTo>
                  <a:cubicBezTo>
                    <a:pt x="532982" y="1203560"/>
                    <a:pt x="561225" y="1203560"/>
                    <a:pt x="585221" y="1191581"/>
                  </a:cubicBezTo>
                  <a:lnTo>
                    <a:pt x="794517" y="1086909"/>
                  </a:lnTo>
                  <a:lnTo>
                    <a:pt x="2052862" y="1086909"/>
                  </a:lnTo>
                  <a:lnTo>
                    <a:pt x="2052862" y="126548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D95BDBB7-6368-D0A1-D307-85A4CBB320F1}"/>
                </a:ext>
              </a:extLst>
            </p:cNvPr>
            <p:cNvSpPr/>
            <p:nvPr/>
          </p:nvSpPr>
          <p:spPr>
            <a:xfrm>
              <a:off x="5435192" y="3216245"/>
              <a:ext cx="1312817" cy="1655717"/>
            </a:xfrm>
            <a:custGeom>
              <a:avLst/>
              <a:gdLst>
                <a:gd name="connsiteX0" fmla="*/ 940124 w 1312817"/>
                <a:gd name="connsiteY0" fmla="*/ 755419 h 1655717"/>
                <a:gd name="connsiteX1" fmla="*/ 1086503 w 1312817"/>
                <a:gd name="connsiteY1" fmla="*/ 453617 h 1655717"/>
                <a:gd name="connsiteX2" fmla="*/ 969202 w 1312817"/>
                <a:gd name="connsiteY2" fmla="*/ 139384 h 1655717"/>
                <a:gd name="connsiteX3" fmla="*/ 660817 w 1312817"/>
                <a:gd name="connsiteY3" fmla="*/ 7348 h 1655717"/>
                <a:gd name="connsiteX4" fmla="*/ 352433 w 1312817"/>
                <a:gd name="connsiteY4" fmla="*/ 139384 h 1655717"/>
                <a:gd name="connsiteX5" fmla="*/ 235131 w 1312817"/>
                <a:gd name="connsiteY5" fmla="*/ 453617 h 1655717"/>
                <a:gd name="connsiteX6" fmla="*/ 381511 w 1312817"/>
                <a:gd name="connsiteY6" fmla="*/ 755419 h 1655717"/>
                <a:gd name="connsiteX7" fmla="*/ 109032 w 1312817"/>
                <a:gd name="connsiteY7" fmla="*/ 996173 h 1655717"/>
                <a:gd name="connsiteX8" fmla="*/ 7348 w 1312817"/>
                <a:gd name="connsiteY8" fmla="*/ 1345275 h 1655717"/>
                <a:gd name="connsiteX9" fmla="*/ 7348 w 1312817"/>
                <a:gd name="connsiteY9" fmla="*/ 1572559 h 1655717"/>
                <a:gd name="connsiteX10" fmla="*/ 92613 w 1312817"/>
                <a:gd name="connsiteY10" fmla="*/ 1657786 h 1655717"/>
                <a:gd name="connsiteX11" fmla="*/ 1229082 w 1312817"/>
                <a:gd name="connsiteY11" fmla="*/ 1657786 h 1655717"/>
                <a:gd name="connsiteX12" fmla="*/ 1314309 w 1312817"/>
                <a:gd name="connsiteY12" fmla="*/ 1572559 h 1655717"/>
                <a:gd name="connsiteX13" fmla="*/ 1314309 w 1312817"/>
                <a:gd name="connsiteY13" fmla="*/ 1345275 h 1655717"/>
                <a:gd name="connsiteX14" fmla="*/ 1212625 w 1312817"/>
                <a:gd name="connsiteY14" fmla="*/ 996173 h 1655717"/>
                <a:gd name="connsiteX15" fmla="*/ 940147 w 1312817"/>
                <a:gd name="connsiteY15" fmla="*/ 755419 h 1655717"/>
                <a:gd name="connsiteX16" fmla="*/ 405151 w 1312817"/>
                <a:gd name="connsiteY16" fmla="*/ 436130 h 1655717"/>
                <a:gd name="connsiteX17" fmla="*/ 480045 w 1312817"/>
                <a:gd name="connsiteY17" fmla="*/ 255304 h 1655717"/>
                <a:gd name="connsiteX18" fmla="*/ 660832 w 1312817"/>
                <a:gd name="connsiteY18" fmla="*/ 180448 h 1655717"/>
                <a:gd name="connsiteX19" fmla="*/ 841619 w 1312817"/>
                <a:gd name="connsiteY19" fmla="*/ 255304 h 1655717"/>
                <a:gd name="connsiteX20" fmla="*/ 916513 w 1312817"/>
                <a:gd name="connsiteY20" fmla="*/ 436130 h 1655717"/>
                <a:gd name="connsiteX21" fmla="*/ 841619 w 1312817"/>
                <a:gd name="connsiteY21" fmla="*/ 616916 h 1655717"/>
                <a:gd name="connsiteX22" fmla="*/ 660832 w 1312817"/>
                <a:gd name="connsiteY22" fmla="*/ 691811 h 1655717"/>
                <a:gd name="connsiteX23" fmla="*/ 480124 w 1312817"/>
                <a:gd name="connsiteY23" fmla="*/ 616840 h 1655717"/>
                <a:gd name="connsiteX24" fmla="*/ 405153 w 1312817"/>
                <a:gd name="connsiteY24" fmla="*/ 436132 h 1655717"/>
                <a:gd name="connsiteX25" fmla="*/ 1143836 w 1312817"/>
                <a:gd name="connsiteY25" fmla="*/ 1487363 h 1655717"/>
                <a:gd name="connsiteX26" fmla="*/ 177857 w 1312817"/>
                <a:gd name="connsiteY26" fmla="*/ 1487363 h 1655717"/>
                <a:gd name="connsiteX27" fmla="*/ 177857 w 1312817"/>
                <a:gd name="connsiteY27" fmla="*/ 1345305 h 1655717"/>
                <a:gd name="connsiteX28" fmla="*/ 419337 w 1312817"/>
                <a:gd name="connsiteY28" fmla="*/ 927016 h 1655717"/>
                <a:gd name="connsiteX29" fmla="*/ 902307 w 1312817"/>
                <a:gd name="connsiteY29" fmla="*/ 927016 h 1655717"/>
                <a:gd name="connsiteX30" fmla="*/ 1143787 w 1312817"/>
                <a:gd name="connsiteY30" fmla="*/ 1345305 h 1655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312817" h="1655717">
                  <a:moveTo>
                    <a:pt x="940124" y="755419"/>
                  </a:moveTo>
                  <a:cubicBezTo>
                    <a:pt x="1028145" y="679069"/>
                    <a:pt x="1081037" y="569998"/>
                    <a:pt x="1086503" y="453617"/>
                  </a:cubicBezTo>
                  <a:cubicBezTo>
                    <a:pt x="1092014" y="337237"/>
                    <a:pt x="1049611" y="223649"/>
                    <a:pt x="969202" y="139384"/>
                  </a:cubicBezTo>
                  <a:cubicBezTo>
                    <a:pt x="888759" y="55075"/>
                    <a:pt x="777315" y="7348"/>
                    <a:pt x="660817" y="7348"/>
                  </a:cubicBezTo>
                  <a:cubicBezTo>
                    <a:pt x="544319" y="7348"/>
                    <a:pt x="432877" y="55071"/>
                    <a:pt x="352433" y="139384"/>
                  </a:cubicBezTo>
                  <a:cubicBezTo>
                    <a:pt x="272027" y="223655"/>
                    <a:pt x="229626" y="337237"/>
                    <a:pt x="235131" y="453617"/>
                  </a:cubicBezTo>
                  <a:cubicBezTo>
                    <a:pt x="240604" y="569998"/>
                    <a:pt x="293493" y="679069"/>
                    <a:pt x="381511" y="755419"/>
                  </a:cubicBezTo>
                  <a:cubicBezTo>
                    <a:pt x="269764" y="808269"/>
                    <a:pt x="175271" y="891775"/>
                    <a:pt x="109032" y="996173"/>
                  </a:cubicBezTo>
                  <a:cubicBezTo>
                    <a:pt x="42825" y="1100572"/>
                    <a:pt x="7583" y="1221626"/>
                    <a:pt x="7348" y="1345275"/>
                  </a:cubicBezTo>
                  <a:lnTo>
                    <a:pt x="7348" y="1572559"/>
                  </a:lnTo>
                  <a:cubicBezTo>
                    <a:pt x="7386" y="1619632"/>
                    <a:pt x="45541" y="1657748"/>
                    <a:pt x="92613" y="1657786"/>
                  </a:cubicBezTo>
                  <a:lnTo>
                    <a:pt x="1229082" y="1657786"/>
                  </a:lnTo>
                  <a:cubicBezTo>
                    <a:pt x="1276116" y="1657748"/>
                    <a:pt x="1314271" y="1619632"/>
                    <a:pt x="1314309" y="1572559"/>
                  </a:cubicBezTo>
                  <a:lnTo>
                    <a:pt x="1314309" y="1345275"/>
                  </a:lnTo>
                  <a:cubicBezTo>
                    <a:pt x="1314118" y="1221626"/>
                    <a:pt x="1278833" y="1100572"/>
                    <a:pt x="1212625" y="996173"/>
                  </a:cubicBezTo>
                  <a:cubicBezTo>
                    <a:pt x="1146379" y="891775"/>
                    <a:pt x="1051932" y="808264"/>
                    <a:pt x="940147" y="755419"/>
                  </a:cubicBezTo>
                  <a:close/>
                  <a:moveTo>
                    <a:pt x="405151" y="436130"/>
                  </a:moveTo>
                  <a:cubicBezTo>
                    <a:pt x="405151" y="368315"/>
                    <a:pt x="432093" y="303261"/>
                    <a:pt x="480045" y="255304"/>
                  </a:cubicBezTo>
                  <a:cubicBezTo>
                    <a:pt x="527998" y="207352"/>
                    <a:pt x="593016" y="180448"/>
                    <a:pt x="660832" y="180448"/>
                  </a:cubicBezTo>
                  <a:cubicBezTo>
                    <a:pt x="728648" y="180448"/>
                    <a:pt x="793671" y="207352"/>
                    <a:pt x="841619" y="255304"/>
                  </a:cubicBezTo>
                  <a:cubicBezTo>
                    <a:pt x="889571" y="303256"/>
                    <a:pt x="916513" y="368314"/>
                    <a:pt x="916513" y="436130"/>
                  </a:cubicBezTo>
                  <a:cubicBezTo>
                    <a:pt x="916513" y="503945"/>
                    <a:pt x="889571" y="568969"/>
                    <a:pt x="841619" y="616916"/>
                  </a:cubicBezTo>
                  <a:cubicBezTo>
                    <a:pt x="793667" y="664864"/>
                    <a:pt x="728648" y="691811"/>
                    <a:pt x="660832" y="691811"/>
                  </a:cubicBezTo>
                  <a:cubicBezTo>
                    <a:pt x="593055" y="691734"/>
                    <a:pt x="528032" y="664792"/>
                    <a:pt x="480124" y="616840"/>
                  </a:cubicBezTo>
                  <a:cubicBezTo>
                    <a:pt x="432172" y="568926"/>
                    <a:pt x="405229" y="503908"/>
                    <a:pt x="405153" y="436132"/>
                  </a:cubicBezTo>
                  <a:close/>
                  <a:moveTo>
                    <a:pt x="1143836" y="1487363"/>
                  </a:moveTo>
                  <a:lnTo>
                    <a:pt x="177857" y="1487363"/>
                  </a:lnTo>
                  <a:lnTo>
                    <a:pt x="177857" y="1345305"/>
                  </a:lnTo>
                  <a:cubicBezTo>
                    <a:pt x="177857" y="1172747"/>
                    <a:pt x="269897" y="1013309"/>
                    <a:pt x="419337" y="927016"/>
                  </a:cubicBezTo>
                  <a:cubicBezTo>
                    <a:pt x="568783" y="840755"/>
                    <a:pt x="752861" y="840755"/>
                    <a:pt x="902307" y="927016"/>
                  </a:cubicBezTo>
                  <a:cubicBezTo>
                    <a:pt x="1051753" y="1013315"/>
                    <a:pt x="1143787" y="1172747"/>
                    <a:pt x="1143787" y="13453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691037B4-3F10-F166-94E1-DE1E32580C7F}"/>
                </a:ext>
              </a:extLst>
            </p:cNvPr>
            <p:cNvSpPr/>
            <p:nvPr/>
          </p:nvSpPr>
          <p:spPr>
            <a:xfrm>
              <a:off x="7026151" y="3216245"/>
              <a:ext cx="1312817" cy="1655717"/>
            </a:xfrm>
            <a:custGeom>
              <a:avLst/>
              <a:gdLst>
                <a:gd name="connsiteX0" fmla="*/ 940124 w 1312817"/>
                <a:gd name="connsiteY0" fmla="*/ 755419 h 1655717"/>
                <a:gd name="connsiteX1" fmla="*/ 1086503 w 1312817"/>
                <a:gd name="connsiteY1" fmla="*/ 453617 h 1655717"/>
                <a:gd name="connsiteX2" fmla="*/ 969163 w 1312817"/>
                <a:gd name="connsiteY2" fmla="*/ 139384 h 1655717"/>
                <a:gd name="connsiteX3" fmla="*/ 660817 w 1312817"/>
                <a:gd name="connsiteY3" fmla="*/ 7348 h 1655717"/>
                <a:gd name="connsiteX4" fmla="*/ 352433 w 1312817"/>
                <a:gd name="connsiteY4" fmla="*/ 139384 h 1655717"/>
                <a:gd name="connsiteX5" fmla="*/ 235092 w 1312817"/>
                <a:gd name="connsiteY5" fmla="*/ 453617 h 1655717"/>
                <a:gd name="connsiteX6" fmla="*/ 381510 w 1312817"/>
                <a:gd name="connsiteY6" fmla="*/ 755419 h 1655717"/>
                <a:gd name="connsiteX7" fmla="*/ 109032 w 1312817"/>
                <a:gd name="connsiteY7" fmla="*/ 996173 h 1655717"/>
                <a:gd name="connsiteX8" fmla="*/ 7348 w 1312817"/>
                <a:gd name="connsiteY8" fmla="*/ 1345275 h 1655717"/>
                <a:gd name="connsiteX9" fmla="*/ 7348 w 1312817"/>
                <a:gd name="connsiteY9" fmla="*/ 1572559 h 1655717"/>
                <a:gd name="connsiteX10" fmla="*/ 92575 w 1312817"/>
                <a:gd name="connsiteY10" fmla="*/ 1657786 h 1655717"/>
                <a:gd name="connsiteX11" fmla="*/ 1229044 w 1312817"/>
                <a:gd name="connsiteY11" fmla="*/ 1657786 h 1655717"/>
                <a:gd name="connsiteX12" fmla="*/ 1314271 w 1312817"/>
                <a:gd name="connsiteY12" fmla="*/ 1572559 h 1655717"/>
                <a:gd name="connsiteX13" fmla="*/ 1314271 w 1312817"/>
                <a:gd name="connsiteY13" fmla="*/ 1345275 h 1655717"/>
                <a:gd name="connsiteX14" fmla="*/ 1212586 w 1312817"/>
                <a:gd name="connsiteY14" fmla="*/ 996173 h 1655717"/>
                <a:gd name="connsiteX15" fmla="*/ 940138 w 1312817"/>
                <a:gd name="connsiteY15" fmla="*/ 755419 h 1655717"/>
                <a:gd name="connsiteX16" fmla="*/ 405151 w 1312817"/>
                <a:gd name="connsiteY16" fmla="*/ 436130 h 1655717"/>
                <a:gd name="connsiteX17" fmla="*/ 405113 w 1312817"/>
                <a:gd name="connsiteY17" fmla="*/ 436130 h 1655717"/>
                <a:gd name="connsiteX18" fmla="*/ 480007 w 1312817"/>
                <a:gd name="connsiteY18" fmla="*/ 255304 h 1655717"/>
                <a:gd name="connsiteX19" fmla="*/ 660833 w 1312817"/>
                <a:gd name="connsiteY19" fmla="*/ 180409 h 1655717"/>
                <a:gd name="connsiteX20" fmla="*/ 841619 w 1312817"/>
                <a:gd name="connsiteY20" fmla="*/ 255304 h 1655717"/>
                <a:gd name="connsiteX21" fmla="*/ 916514 w 1312817"/>
                <a:gd name="connsiteY21" fmla="*/ 436130 h 1655717"/>
                <a:gd name="connsiteX22" fmla="*/ 841619 w 1312817"/>
                <a:gd name="connsiteY22" fmla="*/ 616916 h 1655717"/>
                <a:gd name="connsiteX23" fmla="*/ 660833 w 1312817"/>
                <a:gd name="connsiteY23" fmla="*/ 691811 h 1655717"/>
                <a:gd name="connsiteX24" fmla="*/ 480085 w 1312817"/>
                <a:gd name="connsiteY24" fmla="*/ 616840 h 1655717"/>
                <a:gd name="connsiteX25" fmla="*/ 405115 w 1312817"/>
                <a:gd name="connsiteY25" fmla="*/ 436132 h 1655717"/>
                <a:gd name="connsiteX26" fmla="*/ 1143836 w 1312817"/>
                <a:gd name="connsiteY26" fmla="*/ 1487363 h 1655717"/>
                <a:gd name="connsiteX27" fmla="*/ 177818 w 1312817"/>
                <a:gd name="connsiteY27" fmla="*/ 1487363 h 1655717"/>
                <a:gd name="connsiteX28" fmla="*/ 177818 w 1312817"/>
                <a:gd name="connsiteY28" fmla="*/ 1345305 h 1655717"/>
                <a:gd name="connsiteX29" fmla="*/ 319034 w 1312817"/>
                <a:gd name="connsiteY29" fmla="*/ 1003286 h 1655717"/>
                <a:gd name="connsiteX30" fmla="*/ 660827 w 1312817"/>
                <a:gd name="connsiteY30" fmla="*/ 861531 h 1655717"/>
                <a:gd name="connsiteX31" fmla="*/ 1002620 w 1312817"/>
                <a:gd name="connsiteY31" fmla="*/ 1003286 h 1655717"/>
                <a:gd name="connsiteX32" fmla="*/ 1143797 w 1312817"/>
                <a:gd name="connsiteY32" fmla="*/ 1345305 h 1655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312817" h="1655717">
                  <a:moveTo>
                    <a:pt x="940124" y="755419"/>
                  </a:moveTo>
                  <a:cubicBezTo>
                    <a:pt x="1028107" y="679069"/>
                    <a:pt x="1081037" y="569998"/>
                    <a:pt x="1086503" y="453617"/>
                  </a:cubicBezTo>
                  <a:cubicBezTo>
                    <a:pt x="1092014" y="337237"/>
                    <a:pt x="1049611" y="223649"/>
                    <a:pt x="969163" y="139384"/>
                  </a:cubicBezTo>
                  <a:cubicBezTo>
                    <a:pt x="888757" y="55075"/>
                    <a:pt x="777315" y="7348"/>
                    <a:pt x="660817" y="7348"/>
                  </a:cubicBezTo>
                  <a:cubicBezTo>
                    <a:pt x="544280" y="7348"/>
                    <a:pt x="432877" y="55071"/>
                    <a:pt x="352433" y="139384"/>
                  </a:cubicBezTo>
                  <a:cubicBezTo>
                    <a:pt x="272027" y="223655"/>
                    <a:pt x="229625" y="337237"/>
                    <a:pt x="235092" y="453617"/>
                  </a:cubicBezTo>
                  <a:cubicBezTo>
                    <a:pt x="240603" y="569998"/>
                    <a:pt x="293492" y="679069"/>
                    <a:pt x="381510" y="755419"/>
                  </a:cubicBezTo>
                  <a:cubicBezTo>
                    <a:pt x="269725" y="808269"/>
                    <a:pt x="175271" y="891775"/>
                    <a:pt x="109032" y="996173"/>
                  </a:cubicBezTo>
                  <a:cubicBezTo>
                    <a:pt x="42825" y="1100572"/>
                    <a:pt x="7544" y="1221626"/>
                    <a:pt x="7348" y="1345275"/>
                  </a:cubicBezTo>
                  <a:lnTo>
                    <a:pt x="7348" y="1572559"/>
                  </a:lnTo>
                  <a:cubicBezTo>
                    <a:pt x="7386" y="1619632"/>
                    <a:pt x="45503" y="1657748"/>
                    <a:pt x="92575" y="1657786"/>
                  </a:cubicBezTo>
                  <a:lnTo>
                    <a:pt x="1229044" y="1657786"/>
                  </a:lnTo>
                  <a:cubicBezTo>
                    <a:pt x="1276116" y="1657748"/>
                    <a:pt x="1314271" y="1619632"/>
                    <a:pt x="1314271" y="1572559"/>
                  </a:cubicBezTo>
                  <a:lnTo>
                    <a:pt x="1314271" y="1345275"/>
                  </a:lnTo>
                  <a:cubicBezTo>
                    <a:pt x="1314080" y="1221626"/>
                    <a:pt x="1278833" y="1100572"/>
                    <a:pt x="1212586" y="996173"/>
                  </a:cubicBezTo>
                  <a:cubicBezTo>
                    <a:pt x="1146379" y="891775"/>
                    <a:pt x="1051894" y="808264"/>
                    <a:pt x="940138" y="755419"/>
                  </a:cubicBezTo>
                  <a:close/>
                  <a:moveTo>
                    <a:pt x="405151" y="436130"/>
                  </a:moveTo>
                  <a:lnTo>
                    <a:pt x="405113" y="436130"/>
                  </a:lnTo>
                  <a:cubicBezTo>
                    <a:pt x="405113" y="368315"/>
                    <a:pt x="432055" y="303261"/>
                    <a:pt x="480007" y="255304"/>
                  </a:cubicBezTo>
                  <a:cubicBezTo>
                    <a:pt x="527959" y="207352"/>
                    <a:pt x="593017" y="180409"/>
                    <a:pt x="660833" y="180409"/>
                  </a:cubicBezTo>
                  <a:cubicBezTo>
                    <a:pt x="728648" y="180409"/>
                    <a:pt x="793672" y="207352"/>
                    <a:pt x="841619" y="255304"/>
                  </a:cubicBezTo>
                  <a:cubicBezTo>
                    <a:pt x="889572" y="303256"/>
                    <a:pt x="916514" y="368314"/>
                    <a:pt x="916514" y="436130"/>
                  </a:cubicBezTo>
                  <a:cubicBezTo>
                    <a:pt x="916514" y="503945"/>
                    <a:pt x="889572" y="568969"/>
                    <a:pt x="841619" y="616916"/>
                  </a:cubicBezTo>
                  <a:cubicBezTo>
                    <a:pt x="793668" y="664868"/>
                    <a:pt x="728648" y="691811"/>
                    <a:pt x="660833" y="691811"/>
                  </a:cubicBezTo>
                  <a:cubicBezTo>
                    <a:pt x="593018" y="691734"/>
                    <a:pt x="528032" y="664792"/>
                    <a:pt x="480085" y="616840"/>
                  </a:cubicBezTo>
                  <a:cubicBezTo>
                    <a:pt x="432172" y="568926"/>
                    <a:pt x="405191" y="503908"/>
                    <a:pt x="405115" y="436132"/>
                  </a:cubicBezTo>
                  <a:close/>
                  <a:moveTo>
                    <a:pt x="1143836" y="1487363"/>
                  </a:moveTo>
                  <a:lnTo>
                    <a:pt x="177818" y="1487363"/>
                  </a:lnTo>
                  <a:lnTo>
                    <a:pt x="177818" y="1345305"/>
                  </a:lnTo>
                  <a:cubicBezTo>
                    <a:pt x="177627" y="1217060"/>
                    <a:pt x="228411" y="1094027"/>
                    <a:pt x="319034" y="1003286"/>
                  </a:cubicBezTo>
                  <a:cubicBezTo>
                    <a:pt x="409619" y="912548"/>
                    <a:pt x="532582" y="861531"/>
                    <a:pt x="660827" y="861531"/>
                  </a:cubicBezTo>
                  <a:cubicBezTo>
                    <a:pt x="789033" y="861531"/>
                    <a:pt x="911996" y="912545"/>
                    <a:pt x="1002620" y="1003286"/>
                  </a:cubicBezTo>
                  <a:cubicBezTo>
                    <a:pt x="1093205" y="1094024"/>
                    <a:pt x="1143993" y="1217060"/>
                    <a:pt x="1143797" y="13453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AE16ADCE-DFF5-84EC-A064-FBC099383994}"/>
                </a:ext>
              </a:extLst>
            </p:cNvPr>
            <p:cNvSpPr/>
            <p:nvPr/>
          </p:nvSpPr>
          <p:spPr>
            <a:xfrm>
              <a:off x="3844166" y="3216245"/>
              <a:ext cx="1312817" cy="1655717"/>
            </a:xfrm>
            <a:custGeom>
              <a:avLst/>
              <a:gdLst>
                <a:gd name="connsiteX0" fmla="*/ 940095 w 1312817"/>
                <a:gd name="connsiteY0" fmla="*/ 755419 h 1655717"/>
                <a:gd name="connsiteX1" fmla="*/ 1086513 w 1312817"/>
                <a:gd name="connsiteY1" fmla="*/ 453617 h 1655717"/>
                <a:gd name="connsiteX2" fmla="*/ 969173 w 1312817"/>
                <a:gd name="connsiteY2" fmla="*/ 139384 h 1655717"/>
                <a:gd name="connsiteX3" fmla="*/ 660788 w 1312817"/>
                <a:gd name="connsiteY3" fmla="*/ 7348 h 1655717"/>
                <a:gd name="connsiteX4" fmla="*/ 352442 w 1312817"/>
                <a:gd name="connsiteY4" fmla="*/ 139384 h 1655717"/>
                <a:gd name="connsiteX5" fmla="*/ 235102 w 1312817"/>
                <a:gd name="connsiteY5" fmla="*/ 453617 h 1655717"/>
                <a:gd name="connsiteX6" fmla="*/ 381481 w 1312817"/>
                <a:gd name="connsiteY6" fmla="*/ 755419 h 1655717"/>
                <a:gd name="connsiteX7" fmla="*/ 109032 w 1312817"/>
                <a:gd name="connsiteY7" fmla="*/ 996173 h 1655717"/>
                <a:gd name="connsiteX8" fmla="*/ 7348 w 1312817"/>
                <a:gd name="connsiteY8" fmla="*/ 1345275 h 1655717"/>
                <a:gd name="connsiteX9" fmla="*/ 7348 w 1312817"/>
                <a:gd name="connsiteY9" fmla="*/ 1572559 h 1655717"/>
                <a:gd name="connsiteX10" fmla="*/ 92575 w 1312817"/>
                <a:gd name="connsiteY10" fmla="*/ 1657786 h 1655717"/>
                <a:gd name="connsiteX11" fmla="*/ 1229044 w 1312817"/>
                <a:gd name="connsiteY11" fmla="*/ 1657786 h 1655717"/>
                <a:gd name="connsiteX12" fmla="*/ 1314271 w 1312817"/>
                <a:gd name="connsiteY12" fmla="*/ 1572559 h 1655717"/>
                <a:gd name="connsiteX13" fmla="*/ 1314271 w 1312817"/>
                <a:gd name="connsiteY13" fmla="*/ 1345275 h 1655717"/>
                <a:gd name="connsiteX14" fmla="*/ 1212587 w 1312817"/>
                <a:gd name="connsiteY14" fmla="*/ 996173 h 1655717"/>
                <a:gd name="connsiteX15" fmla="*/ 940108 w 1312817"/>
                <a:gd name="connsiteY15" fmla="*/ 755419 h 1655717"/>
                <a:gd name="connsiteX16" fmla="*/ 405122 w 1312817"/>
                <a:gd name="connsiteY16" fmla="*/ 436130 h 1655717"/>
                <a:gd name="connsiteX17" fmla="*/ 480016 w 1312817"/>
                <a:gd name="connsiteY17" fmla="*/ 255304 h 1655717"/>
                <a:gd name="connsiteX18" fmla="*/ 660803 w 1312817"/>
                <a:gd name="connsiteY18" fmla="*/ 180409 h 1655717"/>
                <a:gd name="connsiteX19" fmla="*/ 841628 w 1312817"/>
                <a:gd name="connsiteY19" fmla="*/ 255304 h 1655717"/>
                <a:gd name="connsiteX20" fmla="*/ 916523 w 1312817"/>
                <a:gd name="connsiteY20" fmla="*/ 436130 h 1655717"/>
                <a:gd name="connsiteX21" fmla="*/ 841628 w 1312817"/>
                <a:gd name="connsiteY21" fmla="*/ 616916 h 1655717"/>
                <a:gd name="connsiteX22" fmla="*/ 660803 w 1312817"/>
                <a:gd name="connsiteY22" fmla="*/ 691811 h 1655717"/>
                <a:gd name="connsiteX23" fmla="*/ 480094 w 1312817"/>
                <a:gd name="connsiteY23" fmla="*/ 616840 h 1655717"/>
                <a:gd name="connsiteX24" fmla="*/ 405124 w 1312817"/>
                <a:gd name="connsiteY24" fmla="*/ 436132 h 1655717"/>
                <a:gd name="connsiteX25" fmla="*/ 1143807 w 1312817"/>
                <a:gd name="connsiteY25" fmla="*/ 1487363 h 1655717"/>
                <a:gd name="connsiteX26" fmla="*/ 177828 w 1312817"/>
                <a:gd name="connsiteY26" fmla="*/ 1487363 h 1655717"/>
                <a:gd name="connsiteX27" fmla="*/ 177828 w 1312817"/>
                <a:gd name="connsiteY27" fmla="*/ 1345305 h 1655717"/>
                <a:gd name="connsiteX28" fmla="*/ 319005 w 1312817"/>
                <a:gd name="connsiteY28" fmla="*/ 1003286 h 1655717"/>
                <a:gd name="connsiteX29" fmla="*/ 660798 w 1312817"/>
                <a:gd name="connsiteY29" fmla="*/ 861531 h 1655717"/>
                <a:gd name="connsiteX30" fmla="*/ 1002591 w 1312817"/>
                <a:gd name="connsiteY30" fmla="*/ 1003286 h 1655717"/>
                <a:gd name="connsiteX31" fmla="*/ 1143807 w 1312817"/>
                <a:gd name="connsiteY31" fmla="*/ 1345305 h 1655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312817" h="1655717">
                  <a:moveTo>
                    <a:pt x="940095" y="755419"/>
                  </a:moveTo>
                  <a:cubicBezTo>
                    <a:pt x="1028116" y="679069"/>
                    <a:pt x="1081007" y="569998"/>
                    <a:pt x="1086513" y="453617"/>
                  </a:cubicBezTo>
                  <a:cubicBezTo>
                    <a:pt x="1091986" y="337237"/>
                    <a:pt x="1049583" y="223649"/>
                    <a:pt x="969173" y="139384"/>
                  </a:cubicBezTo>
                  <a:cubicBezTo>
                    <a:pt x="888729" y="55075"/>
                    <a:pt x="777325" y="7348"/>
                    <a:pt x="660788" y="7348"/>
                  </a:cubicBezTo>
                  <a:cubicBezTo>
                    <a:pt x="544290" y="7348"/>
                    <a:pt x="432848" y="55071"/>
                    <a:pt x="352442" y="139384"/>
                  </a:cubicBezTo>
                  <a:cubicBezTo>
                    <a:pt x="271999" y="223655"/>
                    <a:pt x="229596" y="337237"/>
                    <a:pt x="235102" y="453617"/>
                  </a:cubicBezTo>
                  <a:cubicBezTo>
                    <a:pt x="240575" y="569998"/>
                    <a:pt x="293502" y="679069"/>
                    <a:pt x="381481" y="755419"/>
                  </a:cubicBezTo>
                  <a:cubicBezTo>
                    <a:pt x="269735" y="808269"/>
                    <a:pt x="175242" y="891775"/>
                    <a:pt x="109032" y="996173"/>
                  </a:cubicBezTo>
                  <a:cubicBezTo>
                    <a:pt x="42787" y="1100572"/>
                    <a:pt x="7544" y="1221626"/>
                    <a:pt x="7348" y="1345275"/>
                  </a:cubicBezTo>
                  <a:lnTo>
                    <a:pt x="7348" y="1572559"/>
                  </a:lnTo>
                  <a:cubicBezTo>
                    <a:pt x="7348" y="1619632"/>
                    <a:pt x="45503" y="1657748"/>
                    <a:pt x="92575" y="1657786"/>
                  </a:cubicBezTo>
                  <a:lnTo>
                    <a:pt x="1229044" y="1657786"/>
                  </a:lnTo>
                  <a:cubicBezTo>
                    <a:pt x="1276116" y="1657748"/>
                    <a:pt x="1314233" y="1619632"/>
                    <a:pt x="1314271" y="1572559"/>
                  </a:cubicBezTo>
                  <a:lnTo>
                    <a:pt x="1314271" y="1345275"/>
                  </a:lnTo>
                  <a:cubicBezTo>
                    <a:pt x="1314080" y="1221626"/>
                    <a:pt x="1278795" y="1100572"/>
                    <a:pt x="1212587" y="996173"/>
                  </a:cubicBezTo>
                  <a:cubicBezTo>
                    <a:pt x="1146341" y="891775"/>
                    <a:pt x="1051894" y="808264"/>
                    <a:pt x="940108" y="755419"/>
                  </a:cubicBezTo>
                  <a:close/>
                  <a:moveTo>
                    <a:pt x="405122" y="436130"/>
                  </a:moveTo>
                  <a:cubicBezTo>
                    <a:pt x="405122" y="368315"/>
                    <a:pt x="432064" y="303261"/>
                    <a:pt x="480016" y="255304"/>
                  </a:cubicBezTo>
                  <a:cubicBezTo>
                    <a:pt x="527968" y="207352"/>
                    <a:pt x="592987" y="180409"/>
                    <a:pt x="660803" y="180409"/>
                  </a:cubicBezTo>
                  <a:cubicBezTo>
                    <a:pt x="728619" y="180409"/>
                    <a:pt x="793672" y="207352"/>
                    <a:pt x="841628" y="255304"/>
                  </a:cubicBezTo>
                  <a:cubicBezTo>
                    <a:pt x="889581" y="303256"/>
                    <a:pt x="916523" y="368314"/>
                    <a:pt x="916523" y="436130"/>
                  </a:cubicBezTo>
                  <a:cubicBezTo>
                    <a:pt x="916523" y="503945"/>
                    <a:pt x="889581" y="568969"/>
                    <a:pt x="841628" y="616916"/>
                  </a:cubicBezTo>
                  <a:cubicBezTo>
                    <a:pt x="793676" y="664864"/>
                    <a:pt x="728619" y="691811"/>
                    <a:pt x="660803" y="691811"/>
                  </a:cubicBezTo>
                  <a:cubicBezTo>
                    <a:pt x="593026" y="691734"/>
                    <a:pt x="528042" y="664792"/>
                    <a:pt x="480094" y="616840"/>
                  </a:cubicBezTo>
                  <a:cubicBezTo>
                    <a:pt x="432142" y="568926"/>
                    <a:pt x="405200" y="503908"/>
                    <a:pt x="405124" y="436132"/>
                  </a:cubicBezTo>
                  <a:close/>
                  <a:moveTo>
                    <a:pt x="1143807" y="1487363"/>
                  </a:moveTo>
                  <a:lnTo>
                    <a:pt x="177828" y="1487363"/>
                  </a:lnTo>
                  <a:lnTo>
                    <a:pt x="177828" y="1345305"/>
                  </a:lnTo>
                  <a:cubicBezTo>
                    <a:pt x="177637" y="1217060"/>
                    <a:pt x="228421" y="1094027"/>
                    <a:pt x="319005" y="1003286"/>
                  </a:cubicBezTo>
                  <a:cubicBezTo>
                    <a:pt x="409628" y="912548"/>
                    <a:pt x="532592" y="861531"/>
                    <a:pt x="660798" y="861531"/>
                  </a:cubicBezTo>
                  <a:cubicBezTo>
                    <a:pt x="789042" y="861531"/>
                    <a:pt x="912006" y="912545"/>
                    <a:pt x="1002591" y="1003286"/>
                  </a:cubicBezTo>
                  <a:cubicBezTo>
                    <a:pt x="1093214" y="1094024"/>
                    <a:pt x="1144003" y="1217060"/>
                    <a:pt x="1143807" y="13453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9235A77D-B83D-048A-9446-34BA35E431DE}"/>
                </a:ext>
              </a:extLst>
            </p:cNvPr>
            <p:cNvSpPr/>
            <p:nvPr/>
          </p:nvSpPr>
          <p:spPr>
            <a:xfrm>
              <a:off x="4241998" y="605091"/>
              <a:ext cx="744583" cy="744583"/>
            </a:xfrm>
            <a:custGeom>
              <a:avLst/>
              <a:gdLst>
                <a:gd name="connsiteX0" fmla="*/ 376690 w 744582"/>
                <a:gd name="connsiteY0" fmla="*/ 746033 h 744582"/>
                <a:gd name="connsiteX1" fmla="*/ 637843 w 744582"/>
                <a:gd name="connsiteY1" fmla="*/ 637843 h 744582"/>
                <a:gd name="connsiteX2" fmla="*/ 745994 w 744582"/>
                <a:gd name="connsiteY2" fmla="*/ 376690 h 744582"/>
                <a:gd name="connsiteX3" fmla="*/ 637843 w 744582"/>
                <a:gd name="connsiteY3" fmla="*/ 115538 h 744582"/>
                <a:gd name="connsiteX4" fmla="*/ 376690 w 744582"/>
                <a:gd name="connsiteY4" fmla="*/ 7348 h 744582"/>
                <a:gd name="connsiteX5" fmla="*/ 115538 w 744582"/>
                <a:gd name="connsiteY5" fmla="*/ 115538 h 744582"/>
                <a:gd name="connsiteX6" fmla="*/ 7348 w 744582"/>
                <a:gd name="connsiteY6" fmla="*/ 376690 h 744582"/>
                <a:gd name="connsiteX7" fmla="*/ 115655 w 744582"/>
                <a:gd name="connsiteY7" fmla="*/ 637735 h 744582"/>
                <a:gd name="connsiteX8" fmla="*/ 376700 w 744582"/>
                <a:gd name="connsiteY8" fmla="*/ 746043 h 744582"/>
                <a:gd name="connsiteX9" fmla="*/ 376690 w 744582"/>
                <a:gd name="connsiteY9" fmla="*/ 177799 h 744582"/>
                <a:gd name="connsiteX10" fmla="*/ 517299 w 744582"/>
                <a:gd name="connsiteY10" fmla="*/ 236046 h 744582"/>
                <a:gd name="connsiteX11" fmla="*/ 575546 w 744582"/>
                <a:gd name="connsiteY11" fmla="*/ 376683 h 744582"/>
                <a:gd name="connsiteX12" fmla="*/ 517337 w 744582"/>
                <a:gd name="connsiteY12" fmla="*/ 517292 h 744582"/>
                <a:gd name="connsiteX13" fmla="*/ 376699 w 744582"/>
                <a:gd name="connsiteY13" fmla="*/ 575577 h 744582"/>
                <a:gd name="connsiteX14" fmla="*/ 236061 w 744582"/>
                <a:gd name="connsiteY14" fmla="*/ 517330 h 744582"/>
                <a:gd name="connsiteX15" fmla="*/ 177814 w 744582"/>
                <a:gd name="connsiteY15" fmla="*/ 376692 h 744582"/>
                <a:gd name="connsiteX16" fmla="*/ 236138 w 744582"/>
                <a:gd name="connsiteY16" fmla="*/ 236123 h 744582"/>
                <a:gd name="connsiteX17" fmla="*/ 376707 w 744582"/>
                <a:gd name="connsiteY17" fmla="*/ 177800 h 744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44582" h="744582">
                  <a:moveTo>
                    <a:pt x="376690" y="746033"/>
                  </a:moveTo>
                  <a:cubicBezTo>
                    <a:pt x="474624" y="746033"/>
                    <a:pt x="568577" y="707112"/>
                    <a:pt x="637843" y="637843"/>
                  </a:cubicBezTo>
                  <a:cubicBezTo>
                    <a:pt x="707112" y="568574"/>
                    <a:pt x="745994" y="474662"/>
                    <a:pt x="745994" y="376690"/>
                  </a:cubicBezTo>
                  <a:cubicBezTo>
                    <a:pt x="745994" y="278757"/>
                    <a:pt x="707111" y="184804"/>
                    <a:pt x="637843" y="115538"/>
                  </a:cubicBezTo>
                  <a:cubicBezTo>
                    <a:pt x="568574" y="46269"/>
                    <a:pt x="474623" y="7348"/>
                    <a:pt x="376690" y="7348"/>
                  </a:cubicBezTo>
                  <a:cubicBezTo>
                    <a:pt x="278719" y="7348"/>
                    <a:pt x="184764" y="46269"/>
                    <a:pt x="115538" y="115538"/>
                  </a:cubicBezTo>
                  <a:cubicBezTo>
                    <a:pt x="46269" y="184806"/>
                    <a:pt x="7348" y="278758"/>
                    <a:pt x="7348" y="376690"/>
                  </a:cubicBezTo>
                  <a:cubicBezTo>
                    <a:pt x="7463" y="474624"/>
                    <a:pt x="46422" y="568499"/>
                    <a:pt x="115655" y="637735"/>
                  </a:cubicBezTo>
                  <a:cubicBezTo>
                    <a:pt x="184886" y="706966"/>
                    <a:pt x="278758" y="745925"/>
                    <a:pt x="376700" y="746043"/>
                  </a:cubicBezTo>
                  <a:close/>
                  <a:moveTo>
                    <a:pt x="376690" y="177799"/>
                  </a:moveTo>
                  <a:cubicBezTo>
                    <a:pt x="429426" y="177799"/>
                    <a:pt x="480021" y="198770"/>
                    <a:pt x="517299" y="236046"/>
                  </a:cubicBezTo>
                  <a:cubicBezTo>
                    <a:pt x="554612" y="273359"/>
                    <a:pt x="575546" y="323952"/>
                    <a:pt x="575546" y="376683"/>
                  </a:cubicBezTo>
                  <a:cubicBezTo>
                    <a:pt x="575584" y="429420"/>
                    <a:pt x="554612" y="480014"/>
                    <a:pt x="517337" y="517292"/>
                  </a:cubicBezTo>
                  <a:cubicBezTo>
                    <a:pt x="480024" y="554606"/>
                    <a:pt x="429430" y="575539"/>
                    <a:pt x="376699" y="575577"/>
                  </a:cubicBezTo>
                  <a:cubicBezTo>
                    <a:pt x="323963" y="575577"/>
                    <a:pt x="273369" y="554606"/>
                    <a:pt x="236061" y="517330"/>
                  </a:cubicBezTo>
                  <a:cubicBezTo>
                    <a:pt x="198786" y="480017"/>
                    <a:pt x="177814" y="429423"/>
                    <a:pt x="177814" y="376692"/>
                  </a:cubicBezTo>
                  <a:cubicBezTo>
                    <a:pt x="177891" y="323956"/>
                    <a:pt x="198862" y="273440"/>
                    <a:pt x="236138" y="236123"/>
                  </a:cubicBezTo>
                  <a:cubicBezTo>
                    <a:pt x="273413" y="198848"/>
                    <a:pt x="323967" y="177876"/>
                    <a:pt x="376707" y="1778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A842E4C1-354E-8F96-4869-1438694B1794}"/>
              </a:ext>
            </a:extLst>
          </p:cNvPr>
          <p:cNvGrpSpPr/>
          <p:nvPr/>
        </p:nvGrpSpPr>
        <p:grpSpPr>
          <a:xfrm>
            <a:off x="9716679" y="3795696"/>
            <a:ext cx="591980" cy="677924"/>
            <a:chOff x="7901731" y="1250976"/>
            <a:chExt cx="504223" cy="577429"/>
          </a:xfrm>
          <a:solidFill>
            <a:schemeClr val="accent1"/>
          </a:solidFill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A3A28610-51E6-90BC-CE65-42C2E4FD02E0}"/>
                </a:ext>
              </a:extLst>
            </p:cNvPr>
            <p:cNvSpPr/>
            <p:nvPr/>
          </p:nvSpPr>
          <p:spPr>
            <a:xfrm>
              <a:off x="8078462" y="1722649"/>
              <a:ext cx="35252" cy="105756"/>
            </a:xfrm>
            <a:custGeom>
              <a:avLst/>
              <a:gdLst>
                <a:gd name="connsiteX0" fmla="*/ 18214 w 35252"/>
                <a:gd name="connsiteY0" fmla="*/ 99176 h 105756"/>
                <a:gd name="connsiteX1" fmla="*/ 8813 w 35252"/>
                <a:gd name="connsiteY1" fmla="*/ 89775 h 105756"/>
                <a:gd name="connsiteX2" fmla="*/ 8813 w 35252"/>
                <a:gd name="connsiteY2" fmla="*/ 18214 h 105756"/>
                <a:gd name="connsiteX3" fmla="*/ 18214 w 35252"/>
                <a:gd name="connsiteY3" fmla="*/ 8813 h 105756"/>
                <a:gd name="connsiteX4" fmla="*/ 27614 w 35252"/>
                <a:gd name="connsiteY4" fmla="*/ 18214 h 105756"/>
                <a:gd name="connsiteX5" fmla="*/ 27614 w 35252"/>
                <a:gd name="connsiteY5" fmla="*/ 89775 h 105756"/>
                <a:gd name="connsiteX6" fmla="*/ 18214 w 35252"/>
                <a:gd name="connsiteY6" fmla="*/ 99176 h 105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252" h="105756">
                  <a:moveTo>
                    <a:pt x="18214" y="99176"/>
                  </a:moveTo>
                  <a:cubicBezTo>
                    <a:pt x="13043" y="99176"/>
                    <a:pt x="8813" y="94946"/>
                    <a:pt x="8813" y="89775"/>
                  </a:cubicBezTo>
                  <a:lnTo>
                    <a:pt x="8813" y="18214"/>
                  </a:lnTo>
                  <a:cubicBezTo>
                    <a:pt x="8813" y="13043"/>
                    <a:pt x="13043" y="8813"/>
                    <a:pt x="18214" y="8813"/>
                  </a:cubicBezTo>
                  <a:cubicBezTo>
                    <a:pt x="23384" y="8813"/>
                    <a:pt x="27614" y="13043"/>
                    <a:pt x="27614" y="18214"/>
                  </a:cubicBezTo>
                  <a:lnTo>
                    <a:pt x="27614" y="89775"/>
                  </a:lnTo>
                  <a:cubicBezTo>
                    <a:pt x="27497" y="94946"/>
                    <a:pt x="23384" y="99176"/>
                    <a:pt x="18214" y="9917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5D717C98-8775-3A60-B50C-7814B3C3C17C}"/>
                </a:ext>
              </a:extLst>
            </p:cNvPr>
            <p:cNvSpPr/>
            <p:nvPr/>
          </p:nvSpPr>
          <p:spPr>
            <a:xfrm>
              <a:off x="8194559" y="1722649"/>
              <a:ext cx="35252" cy="105756"/>
            </a:xfrm>
            <a:custGeom>
              <a:avLst/>
              <a:gdLst>
                <a:gd name="connsiteX0" fmla="*/ 18214 w 35252"/>
                <a:gd name="connsiteY0" fmla="*/ 99176 h 105756"/>
                <a:gd name="connsiteX1" fmla="*/ 8813 w 35252"/>
                <a:gd name="connsiteY1" fmla="*/ 89775 h 105756"/>
                <a:gd name="connsiteX2" fmla="*/ 8813 w 35252"/>
                <a:gd name="connsiteY2" fmla="*/ 18214 h 105756"/>
                <a:gd name="connsiteX3" fmla="*/ 18214 w 35252"/>
                <a:gd name="connsiteY3" fmla="*/ 8813 h 105756"/>
                <a:gd name="connsiteX4" fmla="*/ 27614 w 35252"/>
                <a:gd name="connsiteY4" fmla="*/ 18214 h 105756"/>
                <a:gd name="connsiteX5" fmla="*/ 27614 w 35252"/>
                <a:gd name="connsiteY5" fmla="*/ 89775 h 105756"/>
                <a:gd name="connsiteX6" fmla="*/ 18214 w 35252"/>
                <a:gd name="connsiteY6" fmla="*/ 99176 h 105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252" h="105756">
                  <a:moveTo>
                    <a:pt x="18214" y="99176"/>
                  </a:moveTo>
                  <a:cubicBezTo>
                    <a:pt x="13043" y="99176"/>
                    <a:pt x="8813" y="94946"/>
                    <a:pt x="8813" y="89775"/>
                  </a:cubicBezTo>
                  <a:lnTo>
                    <a:pt x="8813" y="18214"/>
                  </a:lnTo>
                  <a:cubicBezTo>
                    <a:pt x="8813" y="13043"/>
                    <a:pt x="13043" y="8813"/>
                    <a:pt x="18214" y="8813"/>
                  </a:cubicBezTo>
                  <a:cubicBezTo>
                    <a:pt x="23384" y="8813"/>
                    <a:pt x="27614" y="13043"/>
                    <a:pt x="27614" y="18214"/>
                  </a:cubicBezTo>
                  <a:lnTo>
                    <a:pt x="27614" y="89775"/>
                  </a:lnTo>
                  <a:cubicBezTo>
                    <a:pt x="27614" y="94946"/>
                    <a:pt x="23384" y="99176"/>
                    <a:pt x="18214" y="9917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D3DF9FF2-06D7-0BC4-7131-CA63868B8652}"/>
                </a:ext>
              </a:extLst>
            </p:cNvPr>
            <p:cNvSpPr/>
            <p:nvPr/>
          </p:nvSpPr>
          <p:spPr>
            <a:xfrm>
              <a:off x="8090565" y="1529585"/>
              <a:ext cx="117507" cy="117507"/>
            </a:xfrm>
            <a:custGeom>
              <a:avLst/>
              <a:gdLst>
                <a:gd name="connsiteX0" fmla="*/ 64159 w 117507"/>
                <a:gd name="connsiteY0" fmla="*/ 119505 h 117507"/>
                <a:gd name="connsiteX1" fmla="*/ 8813 w 117507"/>
                <a:gd name="connsiteY1" fmla="*/ 64159 h 117507"/>
                <a:gd name="connsiteX2" fmla="*/ 64159 w 117507"/>
                <a:gd name="connsiteY2" fmla="*/ 8813 h 117507"/>
                <a:gd name="connsiteX3" fmla="*/ 119505 w 117507"/>
                <a:gd name="connsiteY3" fmla="*/ 64159 h 117507"/>
                <a:gd name="connsiteX4" fmla="*/ 64159 w 117507"/>
                <a:gd name="connsiteY4" fmla="*/ 119505 h 117507"/>
                <a:gd name="connsiteX5" fmla="*/ 64159 w 117507"/>
                <a:gd name="connsiteY5" fmla="*/ 27614 h 117507"/>
                <a:gd name="connsiteX6" fmla="*/ 27497 w 117507"/>
                <a:gd name="connsiteY6" fmla="*/ 64276 h 117507"/>
                <a:gd name="connsiteX7" fmla="*/ 64159 w 117507"/>
                <a:gd name="connsiteY7" fmla="*/ 100939 h 117507"/>
                <a:gd name="connsiteX8" fmla="*/ 100821 w 117507"/>
                <a:gd name="connsiteY8" fmla="*/ 64276 h 117507"/>
                <a:gd name="connsiteX9" fmla="*/ 64159 w 117507"/>
                <a:gd name="connsiteY9" fmla="*/ 27614 h 117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07" h="117507">
                  <a:moveTo>
                    <a:pt x="64159" y="119505"/>
                  </a:moveTo>
                  <a:cubicBezTo>
                    <a:pt x="33607" y="119505"/>
                    <a:pt x="8813" y="94711"/>
                    <a:pt x="8813" y="64159"/>
                  </a:cubicBezTo>
                  <a:cubicBezTo>
                    <a:pt x="8813" y="33607"/>
                    <a:pt x="33607" y="8813"/>
                    <a:pt x="64159" y="8813"/>
                  </a:cubicBezTo>
                  <a:cubicBezTo>
                    <a:pt x="94711" y="8813"/>
                    <a:pt x="119505" y="33607"/>
                    <a:pt x="119505" y="64159"/>
                  </a:cubicBezTo>
                  <a:cubicBezTo>
                    <a:pt x="119505" y="94711"/>
                    <a:pt x="94711" y="119505"/>
                    <a:pt x="64159" y="119505"/>
                  </a:cubicBezTo>
                  <a:close/>
                  <a:moveTo>
                    <a:pt x="64159" y="27614"/>
                  </a:moveTo>
                  <a:cubicBezTo>
                    <a:pt x="43948" y="27614"/>
                    <a:pt x="27497" y="44065"/>
                    <a:pt x="27497" y="64276"/>
                  </a:cubicBezTo>
                  <a:cubicBezTo>
                    <a:pt x="27497" y="84488"/>
                    <a:pt x="43948" y="100939"/>
                    <a:pt x="64159" y="100939"/>
                  </a:cubicBezTo>
                  <a:cubicBezTo>
                    <a:pt x="84370" y="100939"/>
                    <a:pt x="100821" y="84488"/>
                    <a:pt x="100821" y="64276"/>
                  </a:cubicBezTo>
                  <a:cubicBezTo>
                    <a:pt x="100821" y="43948"/>
                    <a:pt x="84370" y="27614"/>
                    <a:pt x="64159" y="276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5AEF808F-9A55-BFF2-3D8C-3BE7BB31A5C4}"/>
                </a:ext>
              </a:extLst>
            </p:cNvPr>
            <p:cNvSpPr/>
            <p:nvPr/>
          </p:nvSpPr>
          <p:spPr>
            <a:xfrm>
              <a:off x="8036159" y="1654612"/>
              <a:ext cx="235014" cy="164510"/>
            </a:xfrm>
            <a:custGeom>
              <a:avLst/>
              <a:gdLst>
                <a:gd name="connsiteX0" fmla="*/ 218916 w 235014"/>
                <a:gd name="connsiteY0" fmla="*/ 167213 h 164509"/>
                <a:gd name="connsiteX1" fmla="*/ 18214 w 235014"/>
                <a:gd name="connsiteY1" fmla="*/ 167213 h 164509"/>
                <a:gd name="connsiteX2" fmla="*/ 8813 w 235014"/>
                <a:gd name="connsiteY2" fmla="*/ 157812 h 164509"/>
                <a:gd name="connsiteX3" fmla="*/ 8813 w 235014"/>
                <a:gd name="connsiteY3" fmla="*/ 72502 h 164509"/>
                <a:gd name="connsiteX4" fmla="*/ 72502 w 235014"/>
                <a:gd name="connsiteY4" fmla="*/ 8813 h 164509"/>
                <a:gd name="connsiteX5" fmla="*/ 164393 w 235014"/>
                <a:gd name="connsiteY5" fmla="*/ 8813 h 164509"/>
                <a:gd name="connsiteX6" fmla="*/ 228081 w 235014"/>
                <a:gd name="connsiteY6" fmla="*/ 72502 h 164509"/>
                <a:gd name="connsiteX7" fmla="*/ 228081 w 235014"/>
                <a:gd name="connsiteY7" fmla="*/ 157812 h 164509"/>
                <a:gd name="connsiteX8" fmla="*/ 218916 w 235014"/>
                <a:gd name="connsiteY8" fmla="*/ 167213 h 164509"/>
                <a:gd name="connsiteX9" fmla="*/ 27614 w 235014"/>
                <a:gd name="connsiteY9" fmla="*/ 148529 h 164509"/>
                <a:gd name="connsiteX10" fmla="*/ 209515 w 235014"/>
                <a:gd name="connsiteY10" fmla="*/ 148529 h 164509"/>
                <a:gd name="connsiteX11" fmla="*/ 209515 w 235014"/>
                <a:gd name="connsiteY11" fmla="*/ 72502 h 164509"/>
                <a:gd name="connsiteX12" fmla="*/ 164510 w 235014"/>
                <a:gd name="connsiteY12" fmla="*/ 27497 h 164509"/>
                <a:gd name="connsiteX13" fmla="*/ 72620 w 235014"/>
                <a:gd name="connsiteY13" fmla="*/ 27497 h 164509"/>
                <a:gd name="connsiteX14" fmla="*/ 27614 w 235014"/>
                <a:gd name="connsiteY14" fmla="*/ 72502 h 164509"/>
                <a:gd name="connsiteX15" fmla="*/ 27614 w 235014"/>
                <a:gd name="connsiteY15" fmla="*/ 148529 h 164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35014" h="164509">
                  <a:moveTo>
                    <a:pt x="218916" y="167213"/>
                  </a:moveTo>
                  <a:lnTo>
                    <a:pt x="18214" y="167213"/>
                  </a:lnTo>
                  <a:cubicBezTo>
                    <a:pt x="13043" y="167213"/>
                    <a:pt x="8813" y="162982"/>
                    <a:pt x="8813" y="157812"/>
                  </a:cubicBezTo>
                  <a:lnTo>
                    <a:pt x="8813" y="72502"/>
                  </a:lnTo>
                  <a:cubicBezTo>
                    <a:pt x="8813" y="37367"/>
                    <a:pt x="37368" y="8813"/>
                    <a:pt x="72502" y="8813"/>
                  </a:cubicBezTo>
                  <a:lnTo>
                    <a:pt x="164393" y="8813"/>
                  </a:lnTo>
                  <a:cubicBezTo>
                    <a:pt x="199527" y="8813"/>
                    <a:pt x="228081" y="37367"/>
                    <a:pt x="228081" y="72502"/>
                  </a:cubicBezTo>
                  <a:lnTo>
                    <a:pt x="228081" y="157812"/>
                  </a:lnTo>
                  <a:cubicBezTo>
                    <a:pt x="228317" y="162982"/>
                    <a:pt x="224086" y="167213"/>
                    <a:pt x="218916" y="167213"/>
                  </a:cubicBezTo>
                  <a:close/>
                  <a:moveTo>
                    <a:pt x="27614" y="148529"/>
                  </a:moveTo>
                  <a:lnTo>
                    <a:pt x="209515" y="148529"/>
                  </a:lnTo>
                  <a:lnTo>
                    <a:pt x="209515" y="72502"/>
                  </a:lnTo>
                  <a:cubicBezTo>
                    <a:pt x="209515" y="47708"/>
                    <a:pt x="189304" y="27497"/>
                    <a:pt x="164510" y="27497"/>
                  </a:cubicBezTo>
                  <a:lnTo>
                    <a:pt x="72620" y="27497"/>
                  </a:lnTo>
                  <a:cubicBezTo>
                    <a:pt x="47825" y="27497"/>
                    <a:pt x="27614" y="47708"/>
                    <a:pt x="27614" y="72502"/>
                  </a:cubicBezTo>
                  <a:lnTo>
                    <a:pt x="27614" y="14852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84FA18DD-8680-F3BA-0C11-19CF96CC87EB}"/>
                </a:ext>
              </a:extLst>
            </p:cNvPr>
            <p:cNvSpPr/>
            <p:nvPr/>
          </p:nvSpPr>
          <p:spPr>
            <a:xfrm>
              <a:off x="8078462" y="1444040"/>
              <a:ext cx="35252" cy="58754"/>
            </a:xfrm>
            <a:custGeom>
              <a:avLst/>
              <a:gdLst>
                <a:gd name="connsiteX0" fmla="*/ 18214 w 35252"/>
                <a:gd name="connsiteY0" fmla="*/ 60751 h 58753"/>
                <a:gd name="connsiteX1" fmla="*/ 8813 w 35252"/>
                <a:gd name="connsiteY1" fmla="*/ 51351 h 58753"/>
                <a:gd name="connsiteX2" fmla="*/ 8813 w 35252"/>
                <a:gd name="connsiteY2" fmla="*/ 18214 h 58753"/>
                <a:gd name="connsiteX3" fmla="*/ 18214 w 35252"/>
                <a:gd name="connsiteY3" fmla="*/ 8813 h 58753"/>
                <a:gd name="connsiteX4" fmla="*/ 27614 w 35252"/>
                <a:gd name="connsiteY4" fmla="*/ 18214 h 58753"/>
                <a:gd name="connsiteX5" fmla="*/ 27614 w 35252"/>
                <a:gd name="connsiteY5" fmla="*/ 51351 h 58753"/>
                <a:gd name="connsiteX6" fmla="*/ 18214 w 35252"/>
                <a:gd name="connsiteY6" fmla="*/ 60751 h 5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252" h="58753">
                  <a:moveTo>
                    <a:pt x="18214" y="60751"/>
                  </a:moveTo>
                  <a:cubicBezTo>
                    <a:pt x="13043" y="60751"/>
                    <a:pt x="8813" y="56521"/>
                    <a:pt x="8813" y="51351"/>
                  </a:cubicBezTo>
                  <a:lnTo>
                    <a:pt x="8813" y="18214"/>
                  </a:lnTo>
                  <a:cubicBezTo>
                    <a:pt x="8813" y="13043"/>
                    <a:pt x="13043" y="8813"/>
                    <a:pt x="18214" y="8813"/>
                  </a:cubicBezTo>
                  <a:cubicBezTo>
                    <a:pt x="23384" y="8813"/>
                    <a:pt x="27614" y="13043"/>
                    <a:pt x="27614" y="18214"/>
                  </a:cubicBezTo>
                  <a:lnTo>
                    <a:pt x="27614" y="51351"/>
                  </a:lnTo>
                  <a:cubicBezTo>
                    <a:pt x="27497" y="56521"/>
                    <a:pt x="23384" y="60751"/>
                    <a:pt x="18214" y="6075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D9392E04-EC18-E12C-EE38-1EFCF5257F98}"/>
                </a:ext>
              </a:extLst>
            </p:cNvPr>
            <p:cNvSpPr/>
            <p:nvPr/>
          </p:nvSpPr>
          <p:spPr>
            <a:xfrm>
              <a:off x="8194559" y="1444040"/>
              <a:ext cx="35252" cy="58754"/>
            </a:xfrm>
            <a:custGeom>
              <a:avLst/>
              <a:gdLst>
                <a:gd name="connsiteX0" fmla="*/ 18214 w 35252"/>
                <a:gd name="connsiteY0" fmla="*/ 60751 h 58753"/>
                <a:gd name="connsiteX1" fmla="*/ 8813 w 35252"/>
                <a:gd name="connsiteY1" fmla="*/ 51351 h 58753"/>
                <a:gd name="connsiteX2" fmla="*/ 8813 w 35252"/>
                <a:gd name="connsiteY2" fmla="*/ 18214 h 58753"/>
                <a:gd name="connsiteX3" fmla="*/ 18214 w 35252"/>
                <a:gd name="connsiteY3" fmla="*/ 8813 h 58753"/>
                <a:gd name="connsiteX4" fmla="*/ 27614 w 35252"/>
                <a:gd name="connsiteY4" fmla="*/ 18214 h 58753"/>
                <a:gd name="connsiteX5" fmla="*/ 27614 w 35252"/>
                <a:gd name="connsiteY5" fmla="*/ 51351 h 58753"/>
                <a:gd name="connsiteX6" fmla="*/ 18214 w 35252"/>
                <a:gd name="connsiteY6" fmla="*/ 60751 h 5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252" h="58753">
                  <a:moveTo>
                    <a:pt x="18214" y="60751"/>
                  </a:moveTo>
                  <a:cubicBezTo>
                    <a:pt x="13043" y="60751"/>
                    <a:pt x="8813" y="56521"/>
                    <a:pt x="8813" y="51351"/>
                  </a:cubicBezTo>
                  <a:lnTo>
                    <a:pt x="8813" y="18214"/>
                  </a:lnTo>
                  <a:cubicBezTo>
                    <a:pt x="8813" y="13043"/>
                    <a:pt x="13043" y="8813"/>
                    <a:pt x="18214" y="8813"/>
                  </a:cubicBezTo>
                  <a:cubicBezTo>
                    <a:pt x="23384" y="8813"/>
                    <a:pt x="27614" y="13043"/>
                    <a:pt x="27614" y="18214"/>
                  </a:cubicBezTo>
                  <a:lnTo>
                    <a:pt x="27614" y="51351"/>
                  </a:lnTo>
                  <a:cubicBezTo>
                    <a:pt x="27614" y="56521"/>
                    <a:pt x="23384" y="60751"/>
                    <a:pt x="18214" y="6075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7C1C11A7-602D-1593-DA53-2BD4024D7207}"/>
                </a:ext>
              </a:extLst>
            </p:cNvPr>
            <p:cNvSpPr/>
            <p:nvPr/>
          </p:nvSpPr>
          <p:spPr>
            <a:xfrm>
              <a:off x="8090565" y="1250976"/>
              <a:ext cx="117507" cy="117507"/>
            </a:xfrm>
            <a:custGeom>
              <a:avLst/>
              <a:gdLst>
                <a:gd name="connsiteX0" fmla="*/ 64159 w 117507"/>
                <a:gd name="connsiteY0" fmla="*/ 119505 h 117507"/>
                <a:gd name="connsiteX1" fmla="*/ 8813 w 117507"/>
                <a:gd name="connsiteY1" fmla="*/ 64159 h 117507"/>
                <a:gd name="connsiteX2" fmla="*/ 64159 w 117507"/>
                <a:gd name="connsiteY2" fmla="*/ 8813 h 117507"/>
                <a:gd name="connsiteX3" fmla="*/ 119505 w 117507"/>
                <a:gd name="connsiteY3" fmla="*/ 64159 h 117507"/>
                <a:gd name="connsiteX4" fmla="*/ 64159 w 117507"/>
                <a:gd name="connsiteY4" fmla="*/ 119505 h 117507"/>
                <a:gd name="connsiteX5" fmla="*/ 64159 w 117507"/>
                <a:gd name="connsiteY5" fmla="*/ 27614 h 117507"/>
                <a:gd name="connsiteX6" fmla="*/ 27497 w 117507"/>
                <a:gd name="connsiteY6" fmla="*/ 64276 h 117507"/>
                <a:gd name="connsiteX7" fmla="*/ 64159 w 117507"/>
                <a:gd name="connsiteY7" fmla="*/ 100939 h 117507"/>
                <a:gd name="connsiteX8" fmla="*/ 100821 w 117507"/>
                <a:gd name="connsiteY8" fmla="*/ 64276 h 117507"/>
                <a:gd name="connsiteX9" fmla="*/ 64159 w 117507"/>
                <a:gd name="connsiteY9" fmla="*/ 27614 h 117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07" h="117507">
                  <a:moveTo>
                    <a:pt x="64159" y="119505"/>
                  </a:moveTo>
                  <a:cubicBezTo>
                    <a:pt x="33607" y="119505"/>
                    <a:pt x="8813" y="94711"/>
                    <a:pt x="8813" y="64159"/>
                  </a:cubicBezTo>
                  <a:cubicBezTo>
                    <a:pt x="8813" y="33607"/>
                    <a:pt x="33607" y="8813"/>
                    <a:pt x="64159" y="8813"/>
                  </a:cubicBezTo>
                  <a:cubicBezTo>
                    <a:pt x="94711" y="8813"/>
                    <a:pt x="119505" y="33607"/>
                    <a:pt x="119505" y="64159"/>
                  </a:cubicBezTo>
                  <a:cubicBezTo>
                    <a:pt x="119505" y="94711"/>
                    <a:pt x="94711" y="119505"/>
                    <a:pt x="64159" y="119505"/>
                  </a:cubicBezTo>
                  <a:close/>
                  <a:moveTo>
                    <a:pt x="64159" y="27614"/>
                  </a:moveTo>
                  <a:cubicBezTo>
                    <a:pt x="43948" y="27614"/>
                    <a:pt x="27497" y="44065"/>
                    <a:pt x="27497" y="64276"/>
                  </a:cubicBezTo>
                  <a:cubicBezTo>
                    <a:pt x="27497" y="84488"/>
                    <a:pt x="43948" y="100939"/>
                    <a:pt x="64159" y="100939"/>
                  </a:cubicBezTo>
                  <a:cubicBezTo>
                    <a:pt x="84370" y="100939"/>
                    <a:pt x="100821" y="84488"/>
                    <a:pt x="100821" y="64276"/>
                  </a:cubicBezTo>
                  <a:cubicBezTo>
                    <a:pt x="100821" y="44065"/>
                    <a:pt x="84370" y="27614"/>
                    <a:pt x="64159" y="276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15BCCF1-C60C-E784-B9A0-ECC2F6CD2B85}"/>
                </a:ext>
              </a:extLst>
            </p:cNvPr>
            <p:cNvSpPr/>
            <p:nvPr/>
          </p:nvSpPr>
          <p:spPr>
            <a:xfrm>
              <a:off x="8036159" y="1376003"/>
              <a:ext cx="235014" cy="129258"/>
            </a:xfrm>
            <a:custGeom>
              <a:avLst/>
              <a:gdLst>
                <a:gd name="connsiteX0" fmla="*/ 218916 w 235014"/>
                <a:gd name="connsiteY0" fmla="*/ 128788 h 129257"/>
                <a:gd name="connsiteX1" fmla="*/ 209515 w 235014"/>
                <a:gd name="connsiteY1" fmla="*/ 119387 h 129257"/>
                <a:gd name="connsiteX2" fmla="*/ 209515 w 235014"/>
                <a:gd name="connsiteY2" fmla="*/ 72502 h 129257"/>
                <a:gd name="connsiteX3" fmla="*/ 164510 w 235014"/>
                <a:gd name="connsiteY3" fmla="*/ 27497 h 129257"/>
                <a:gd name="connsiteX4" fmla="*/ 72620 w 235014"/>
                <a:gd name="connsiteY4" fmla="*/ 27497 h 129257"/>
                <a:gd name="connsiteX5" fmla="*/ 27614 w 235014"/>
                <a:gd name="connsiteY5" fmla="*/ 72502 h 129257"/>
                <a:gd name="connsiteX6" fmla="*/ 27614 w 235014"/>
                <a:gd name="connsiteY6" fmla="*/ 119387 h 129257"/>
                <a:gd name="connsiteX7" fmla="*/ 18214 w 235014"/>
                <a:gd name="connsiteY7" fmla="*/ 128788 h 129257"/>
                <a:gd name="connsiteX8" fmla="*/ 8813 w 235014"/>
                <a:gd name="connsiteY8" fmla="*/ 119387 h 129257"/>
                <a:gd name="connsiteX9" fmla="*/ 8813 w 235014"/>
                <a:gd name="connsiteY9" fmla="*/ 72502 h 129257"/>
                <a:gd name="connsiteX10" fmla="*/ 72502 w 235014"/>
                <a:gd name="connsiteY10" fmla="*/ 8813 h 129257"/>
                <a:gd name="connsiteX11" fmla="*/ 164393 w 235014"/>
                <a:gd name="connsiteY11" fmla="*/ 8813 h 129257"/>
                <a:gd name="connsiteX12" fmla="*/ 228081 w 235014"/>
                <a:gd name="connsiteY12" fmla="*/ 72502 h 129257"/>
                <a:gd name="connsiteX13" fmla="*/ 228081 w 235014"/>
                <a:gd name="connsiteY13" fmla="*/ 119387 h 129257"/>
                <a:gd name="connsiteX14" fmla="*/ 218916 w 235014"/>
                <a:gd name="connsiteY14" fmla="*/ 128788 h 129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35014" h="129257">
                  <a:moveTo>
                    <a:pt x="218916" y="128788"/>
                  </a:moveTo>
                  <a:cubicBezTo>
                    <a:pt x="213745" y="128788"/>
                    <a:pt x="209515" y="124557"/>
                    <a:pt x="209515" y="119387"/>
                  </a:cubicBezTo>
                  <a:lnTo>
                    <a:pt x="209515" y="72502"/>
                  </a:lnTo>
                  <a:cubicBezTo>
                    <a:pt x="209515" y="47708"/>
                    <a:pt x="189304" y="27497"/>
                    <a:pt x="164510" y="27497"/>
                  </a:cubicBezTo>
                  <a:lnTo>
                    <a:pt x="72620" y="27497"/>
                  </a:lnTo>
                  <a:cubicBezTo>
                    <a:pt x="47825" y="27497"/>
                    <a:pt x="27614" y="47708"/>
                    <a:pt x="27614" y="72502"/>
                  </a:cubicBezTo>
                  <a:lnTo>
                    <a:pt x="27614" y="119387"/>
                  </a:lnTo>
                  <a:cubicBezTo>
                    <a:pt x="27614" y="124557"/>
                    <a:pt x="23384" y="128788"/>
                    <a:pt x="18214" y="128788"/>
                  </a:cubicBezTo>
                  <a:cubicBezTo>
                    <a:pt x="13043" y="128788"/>
                    <a:pt x="8813" y="124557"/>
                    <a:pt x="8813" y="119387"/>
                  </a:cubicBezTo>
                  <a:lnTo>
                    <a:pt x="8813" y="72502"/>
                  </a:lnTo>
                  <a:cubicBezTo>
                    <a:pt x="8813" y="37367"/>
                    <a:pt x="37368" y="8813"/>
                    <a:pt x="72502" y="8813"/>
                  </a:cubicBezTo>
                  <a:lnTo>
                    <a:pt x="164393" y="8813"/>
                  </a:lnTo>
                  <a:cubicBezTo>
                    <a:pt x="199527" y="8813"/>
                    <a:pt x="228081" y="37367"/>
                    <a:pt x="228081" y="72502"/>
                  </a:cubicBezTo>
                  <a:lnTo>
                    <a:pt x="228081" y="119387"/>
                  </a:lnTo>
                  <a:cubicBezTo>
                    <a:pt x="228317" y="124557"/>
                    <a:pt x="224086" y="128788"/>
                    <a:pt x="218916" y="1287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D2F731F6-373A-F549-BDF3-95993CABAA19}"/>
                </a:ext>
              </a:extLst>
            </p:cNvPr>
            <p:cNvSpPr/>
            <p:nvPr/>
          </p:nvSpPr>
          <p:spPr>
            <a:xfrm>
              <a:off x="8333217" y="1729699"/>
              <a:ext cx="35252" cy="94006"/>
            </a:xfrm>
            <a:custGeom>
              <a:avLst/>
              <a:gdLst>
                <a:gd name="connsiteX0" fmla="*/ 18213 w 35252"/>
                <a:gd name="connsiteY0" fmla="*/ 92125 h 94005"/>
                <a:gd name="connsiteX1" fmla="*/ 8813 w 35252"/>
                <a:gd name="connsiteY1" fmla="*/ 82725 h 94005"/>
                <a:gd name="connsiteX2" fmla="*/ 8813 w 35252"/>
                <a:gd name="connsiteY2" fmla="*/ 18214 h 94005"/>
                <a:gd name="connsiteX3" fmla="*/ 18213 w 35252"/>
                <a:gd name="connsiteY3" fmla="*/ 8813 h 94005"/>
                <a:gd name="connsiteX4" fmla="*/ 27614 w 35252"/>
                <a:gd name="connsiteY4" fmla="*/ 18214 h 94005"/>
                <a:gd name="connsiteX5" fmla="*/ 27614 w 35252"/>
                <a:gd name="connsiteY5" fmla="*/ 82725 h 94005"/>
                <a:gd name="connsiteX6" fmla="*/ 18213 w 35252"/>
                <a:gd name="connsiteY6" fmla="*/ 92125 h 94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252" h="94005">
                  <a:moveTo>
                    <a:pt x="18213" y="92125"/>
                  </a:moveTo>
                  <a:cubicBezTo>
                    <a:pt x="13043" y="92125"/>
                    <a:pt x="8813" y="87895"/>
                    <a:pt x="8813" y="82725"/>
                  </a:cubicBezTo>
                  <a:lnTo>
                    <a:pt x="8813" y="18214"/>
                  </a:lnTo>
                  <a:cubicBezTo>
                    <a:pt x="8813" y="13043"/>
                    <a:pt x="13043" y="8813"/>
                    <a:pt x="18213" y="8813"/>
                  </a:cubicBezTo>
                  <a:cubicBezTo>
                    <a:pt x="23384" y="8813"/>
                    <a:pt x="27614" y="13043"/>
                    <a:pt x="27614" y="18214"/>
                  </a:cubicBezTo>
                  <a:lnTo>
                    <a:pt x="27614" y="82725"/>
                  </a:lnTo>
                  <a:cubicBezTo>
                    <a:pt x="27614" y="87895"/>
                    <a:pt x="23384" y="92125"/>
                    <a:pt x="18213" y="921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0C691D2F-740E-7803-7E49-C47AA9CE4B84}"/>
                </a:ext>
              </a:extLst>
            </p:cNvPr>
            <p:cNvSpPr/>
            <p:nvPr/>
          </p:nvSpPr>
          <p:spPr>
            <a:xfrm>
              <a:off x="8239329" y="1555436"/>
              <a:ext cx="117507" cy="117507"/>
            </a:xfrm>
            <a:custGeom>
              <a:avLst/>
              <a:gdLst>
                <a:gd name="connsiteX0" fmla="*/ 59694 w 117507"/>
                <a:gd name="connsiteY0" fmla="*/ 110574 h 117507"/>
                <a:gd name="connsiteX1" fmla="*/ 8813 w 117507"/>
                <a:gd name="connsiteY1" fmla="*/ 59694 h 117507"/>
                <a:gd name="connsiteX2" fmla="*/ 59694 w 117507"/>
                <a:gd name="connsiteY2" fmla="*/ 8813 h 117507"/>
                <a:gd name="connsiteX3" fmla="*/ 110574 w 117507"/>
                <a:gd name="connsiteY3" fmla="*/ 59694 h 117507"/>
                <a:gd name="connsiteX4" fmla="*/ 59694 w 117507"/>
                <a:gd name="connsiteY4" fmla="*/ 110574 h 117507"/>
                <a:gd name="connsiteX5" fmla="*/ 59694 w 117507"/>
                <a:gd name="connsiteY5" fmla="*/ 27614 h 117507"/>
                <a:gd name="connsiteX6" fmla="*/ 27614 w 117507"/>
                <a:gd name="connsiteY6" fmla="*/ 59694 h 117507"/>
                <a:gd name="connsiteX7" fmla="*/ 59694 w 117507"/>
                <a:gd name="connsiteY7" fmla="*/ 91773 h 117507"/>
                <a:gd name="connsiteX8" fmla="*/ 91891 w 117507"/>
                <a:gd name="connsiteY8" fmla="*/ 59694 h 117507"/>
                <a:gd name="connsiteX9" fmla="*/ 59694 w 117507"/>
                <a:gd name="connsiteY9" fmla="*/ 27614 h 117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07" h="117507">
                  <a:moveTo>
                    <a:pt x="59694" y="110574"/>
                  </a:moveTo>
                  <a:cubicBezTo>
                    <a:pt x="31609" y="110574"/>
                    <a:pt x="8813" y="87778"/>
                    <a:pt x="8813" y="59694"/>
                  </a:cubicBezTo>
                  <a:cubicBezTo>
                    <a:pt x="8813" y="31609"/>
                    <a:pt x="31609" y="8813"/>
                    <a:pt x="59694" y="8813"/>
                  </a:cubicBezTo>
                  <a:cubicBezTo>
                    <a:pt x="87778" y="8813"/>
                    <a:pt x="110574" y="31609"/>
                    <a:pt x="110574" y="59694"/>
                  </a:cubicBezTo>
                  <a:cubicBezTo>
                    <a:pt x="110574" y="87778"/>
                    <a:pt x="87778" y="110574"/>
                    <a:pt x="59694" y="110574"/>
                  </a:cubicBezTo>
                  <a:close/>
                  <a:moveTo>
                    <a:pt x="59694" y="27614"/>
                  </a:moveTo>
                  <a:cubicBezTo>
                    <a:pt x="41950" y="27614"/>
                    <a:pt x="27614" y="42068"/>
                    <a:pt x="27614" y="59694"/>
                  </a:cubicBezTo>
                  <a:cubicBezTo>
                    <a:pt x="27614" y="77437"/>
                    <a:pt x="42068" y="91773"/>
                    <a:pt x="59694" y="91773"/>
                  </a:cubicBezTo>
                  <a:cubicBezTo>
                    <a:pt x="77437" y="91773"/>
                    <a:pt x="91891" y="77320"/>
                    <a:pt x="91891" y="59694"/>
                  </a:cubicBezTo>
                  <a:cubicBezTo>
                    <a:pt x="91891" y="41950"/>
                    <a:pt x="77437" y="27614"/>
                    <a:pt x="59694" y="276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EC2B58F0-0DC3-BD2E-4523-1879189D7FCB}"/>
                </a:ext>
              </a:extLst>
            </p:cNvPr>
            <p:cNvSpPr/>
            <p:nvPr/>
          </p:nvSpPr>
          <p:spPr>
            <a:xfrm>
              <a:off x="8261303" y="1668126"/>
              <a:ext cx="141008" cy="152759"/>
            </a:xfrm>
            <a:custGeom>
              <a:avLst/>
              <a:gdLst>
                <a:gd name="connsiteX0" fmla="*/ 128200 w 141008"/>
                <a:gd name="connsiteY0" fmla="*/ 153699 h 152759"/>
                <a:gd name="connsiteX1" fmla="*/ 118800 w 141008"/>
                <a:gd name="connsiteY1" fmla="*/ 144299 h 152759"/>
                <a:gd name="connsiteX2" fmla="*/ 118800 w 141008"/>
                <a:gd name="connsiteY2" fmla="*/ 67332 h 152759"/>
                <a:gd name="connsiteX3" fmla="*/ 79082 w 141008"/>
                <a:gd name="connsiteY3" fmla="*/ 27614 h 152759"/>
                <a:gd name="connsiteX4" fmla="*/ 18214 w 141008"/>
                <a:gd name="connsiteY4" fmla="*/ 27614 h 152759"/>
                <a:gd name="connsiteX5" fmla="*/ 8813 w 141008"/>
                <a:gd name="connsiteY5" fmla="*/ 18214 h 152759"/>
                <a:gd name="connsiteX6" fmla="*/ 18214 w 141008"/>
                <a:gd name="connsiteY6" fmla="*/ 8813 h 152759"/>
                <a:gd name="connsiteX7" fmla="*/ 79082 w 141008"/>
                <a:gd name="connsiteY7" fmla="*/ 8813 h 152759"/>
                <a:gd name="connsiteX8" fmla="*/ 137483 w 141008"/>
                <a:gd name="connsiteY8" fmla="*/ 67214 h 152759"/>
                <a:gd name="connsiteX9" fmla="*/ 137483 w 141008"/>
                <a:gd name="connsiteY9" fmla="*/ 144181 h 152759"/>
                <a:gd name="connsiteX10" fmla="*/ 128200 w 141008"/>
                <a:gd name="connsiteY10" fmla="*/ 153699 h 152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1008" h="152759">
                  <a:moveTo>
                    <a:pt x="128200" y="153699"/>
                  </a:moveTo>
                  <a:cubicBezTo>
                    <a:pt x="123030" y="153699"/>
                    <a:pt x="118800" y="149469"/>
                    <a:pt x="118800" y="144299"/>
                  </a:cubicBezTo>
                  <a:lnTo>
                    <a:pt x="118800" y="67332"/>
                  </a:lnTo>
                  <a:cubicBezTo>
                    <a:pt x="118800" y="45475"/>
                    <a:pt x="100939" y="27614"/>
                    <a:pt x="79082" y="27614"/>
                  </a:cubicBezTo>
                  <a:lnTo>
                    <a:pt x="18214" y="27614"/>
                  </a:lnTo>
                  <a:cubicBezTo>
                    <a:pt x="13043" y="27614"/>
                    <a:pt x="8813" y="23384"/>
                    <a:pt x="8813" y="18214"/>
                  </a:cubicBezTo>
                  <a:cubicBezTo>
                    <a:pt x="8813" y="13043"/>
                    <a:pt x="13043" y="8813"/>
                    <a:pt x="18214" y="8813"/>
                  </a:cubicBezTo>
                  <a:lnTo>
                    <a:pt x="79082" y="8813"/>
                  </a:lnTo>
                  <a:cubicBezTo>
                    <a:pt x="111279" y="8813"/>
                    <a:pt x="137483" y="35017"/>
                    <a:pt x="137483" y="67214"/>
                  </a:cubicBezTo>
                  <a:lnTo>
                    <a:pt x="137483" y="144181"/>
                  </a:lnTo>
                  <a:cubicBezTo>
                    <a:pt x="137601" y="149469"/>
                    <a:pt x="133371" y="153699"/>
                    <a:pt x="128200" y="15369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24D88803-698E-87C1-33CE-A328A10ECF87}"/>
                </a:ext>
              </a:extLst>
            </p:cNvPr>
            <p:cNvSpPr/>
            <p:nvPr/>
          </p:nvSpPr>
          <p:spPr>
            <a:xfrm>
              <a:off x="7939804" y="1729699"/>
              <a:ext cx="35252" cy="94006"/>
            </a:xfrm>
            <a:custGeom>
              <a:avLst/>
              <a:gdLst>
                <a:gd name="connsiteX0" fmla="*/ 18213 w 35252"/>
                <a:gd name="connsiteY0" fmla="*/ 92125 h 94005"/>
                <a:gd name="connsiteX1" fmla="*/ 8813 w 35252"/>
                <a:gd name="connsiteY1" fmla="*/ 82725 h 94005"/>
                <a:gd name="connsiteX2" fmla="*/ 8813 w 35252"/>
                <a:gd name="connsiteY2" fmla="*/ 18214 h 94005"/>
                <a:gd name="connsiteX3" fmla="*/ 18213 w 35252"/>
                <a:gd name="connsiteY3" fmla="*/ 8813 h 94005"/>
                <a:gd name="connsiteX4" fmla="*/ 27614 w 35252"/>
                <a:gd name="connsiteY4" fmla="*/ 18214 h 94005"/>
                <a:gd name="connsiteX5" fmla="*/ 27614 w 35252"/>
                <a:gd name="connsiteY5" fmla="*/ 82725 h 94005"/>
                <a:gd name="connsiteX6" fmla="*/ 18213 w 35252"/>
                <a:gd name="connsiteY6" fmla="*/ 92125 h 94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252" h="94005">
                  <a:moveTo>
                    <a:pt x="18213" y="92125"/>
                  </a:moveTo>
                  <a:cubicBezTo>
                    <a:pt x="13043" y="92125"/>
                    <a:pt x="8813" y="87895"/>
                    <a:pt x="8813" y="82725"/>
                  </a:cubicBezTo>
                  <a:lnTo>
                    <a:pt x="8813" y="18214"/>
                  </a:lnTo>
                  <a:cubicBezTo>
                    <a:pt x="8813" y="13043"/>
                    <a:pt x="13043" y="8813"/>
                    <a:pt x="18213" y="8813"/>
                  </a:cubicBezTo>
                  <a:cubicBezTo>
                    <a:pt x="23384" y="8813"/>
                    <a:pt x="27614" y="13043"/>
                    <a:pt x="27614" y="18214"/>
                  </a:cubicBezTo>
                  <a:lnTo>
                    <a:pt x="27614" y="82725"/>
                  </a:lnTo>
                  <a:cubicBezTo>
                    <a:pt x="27614" y="87895"/>
                    <a:pt x="23384" y="92125"/>
                    <a:pt x="18213" y="921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BF403433-850A-1246-28E6-EE9FFBE1D174}"/>
                </a:ext>
              </a:extLst>
            </p:cNvPr>
            <p:cNvSpPr/>
            <p:nvPr/>
          </p:nvSpPr>
          <p:spPr>
            <a:xfrm>
              <a:off x="7950732" y="1555436"/>
              <a:ext cx="117507" cy="117507"/>
            </a:xfrm>
            <a:custGeom>
              <a:avLst/>
              <a:gdLst>
                <a:gd name="connsiteX0" fmla="*/ 59694 w 117507"/>
                <a:gd name="connsiteY0" fmla="*/ 110574 h 117507"/>
                <a:gd name="connsiteX1" fmla="*/ 8813 w 117507"/>
                <a:gd name="connsiteY1" fmla="*/ 59694 h 117507"/>
                <a:gd name="connsiteX2" fmla="*/ 59694 w 117507"/>
                <a:gd name="connsiteY2" fmla="*/ 8813 h 117507"/>
                <a:gd name="connsiteX3" fmla="*/ 110574 w 117507"/>
                <a:gd name="connsiteY3" fmla="*/ 59694 h 117507"/>
                <a:gd name="connsiteX4" fmla="*/ 59694 w 117507"/>
                <a:gd name="connsiteY4" fmla="*/ 110574 h 117507"/>
                <a:gd name="connsiteX5" fmla="*/ 59694 w 117507"/>
                <a:gd name="connsiteY5" fmla="*/ 27614 h 117507"/>
                <a:gd name="connsiteX6" fmla="*/ 27497 w 117507"/>
                <a:gd name="connsiteY6" fmla="*/ 59694 h 117507"/>
                <a:gd name="connsiteX7" fmla="*/ 59694 w 117507"/>
                <a:gd name="connsiteY7" fmla="*/ 91773 h 117507"/>
                <a:gd name="connsiteX8" fmla="*/ 91773 w 117507"/>
                <a:gd name="connsiteY8" fmla="*/ 59694 h 117507"/>
                <a:gd name="connsiteX9" fmla="*/ 59694 w 117507"/>
                <a:gd name="connsiteY9" fmla="*/ 27614 h 117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07" h="117507">
                  <a:moveTo>
                    <a:pt x="59694" y="110574"/>
                  </a:moveTo>
                  <a:cubicBezTo>
                    <a:pt x="31609" y="110574"/>
                    <a:pt x="8813" y="87778"/>
                    <a:pt x="8813" y="59694"/>
                  </a:cubicBezTo>
                  <a:cubicBezTo>
                    <a:pt x="8813" y="31609"/>
                    <a:pt x="31609" y="8813"/>
                    <a:pt x="59694" y="8813"/>
                  </a:cubicBezTo>
                  <a:cubicBezTo>
                    <a:pt x="87778" y="8813"/>
                    <a:pt x="110574" y="31609"/>
                    <a:pt x="110574" y="59694"/>
                  </a:cubicBezTo>
                  <a:cubicBezTo>
                    <a:pt x="110574" y="87778"/>
                    <a:pt x="87778" y="110574"/>
                    <a:pt x="59694" y="110574"/>
                  </a:cubicBezTo>
                  <a:close/>
                  <a:moveTo>
                    <a:pt x="59694" y="27614"/>
                  </a:moveTo>
                  <a:cubicBezTo>
                    <a:pt x="41950" y="27614"/>
                    <a:pt x="27497" y="42068"/>
                    <a:pt x="27497" y="59694"/>
                  </a:cubicBezTo>
                  <a:cubicBezTo>
                    <a:pt x="27497" y="77437"/>
                    <a:pt x="41950" y="91773"/>
                    <a:pt x="59694" y="91773"/>
                  </a:cubicBezTo>
                  <a:cubicBezTo>
                    <a:pt x="77437" y="91773"/>
                    <a:pt x="91773" y="77320"/>
                    <a:pt x="91773" y="59694"/>
                  </a:cubicBezTo>
                  <a:cubicBezTo>
                    <a:pt x="91891" y="41950"/>
                    <a:pt x="77437" y="27614"/>
                    <a:pt x="59694" y="276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6DED28B8-1FA9-1E18-A12C-028E42DD93E6}"/>
                </a:ext>
              </a:extLst>
            </p:cNvPr>
            <p:cNvSpPr/>
            <p:nvPr/>
          </p:nvSpPr>
          <p:spPr>
            <a:xfrm>
              <a:off x="7901731" y="1668243"/>
              <a:ext cx="141008" cy="152759"/>
            </a:xfrm>
            <a:custGeom>
              <a:avLst/>
              <a:gdLst>
                <a:gd name="connsiteX0" fmla="*/ 18213 w 141008"/>
                <a:gd name="connsiteY0" fmla="*/ 153582 h 152759"/>
                <a:gd name="connsiteX1" fmla="*/ 8813 w 141008"/>
                <a:gd name="connsiteY1" fmla="*/ 144181 h 152759"/>
                <a:gd name="connsiteX2" fmla="*/ 8813 w 141008"/>
                <a:gd name="connsiteY2" fmla="*/ 67214 h 152759"/>
                <a:gd name="connsiteX3" fmla="*/ 67214 w 141008"/>
                <a:gd name="connsiteY3" fmla="*/ 8813 h 152759"/>
                <a:gd name="connsiteX4" fmla="*/ 128083 w 141008"/>
                <a:gd name="connsiteY4" fmla="*/ 8813 h 152759"/>
                <a:gd name="connsiteX5" fmla="*/ 137483 w 141008"/>
                <a:gd name="connsiteY5" fmla="*/ 18214 h 152759"/>
                <a:gd name="connsiteX6" fmla="*/ 128083 w 141008"/>
                <a:gd name="connsiteY6" fmla="*/ 27614 h 152759"/>
                <a:gd name="connsiteX7" fmla="*/ 67214 w 141008"/>
                <a:gd name="connsiteY7" fmla="*/ 27614 h 152759"/>
                <a:gd name="connsiteX8" fmla="*/ 27497 w 141008"/>
                <a:gd name="connsiteY8" fmla="*/ 67332 h 152759"/>
                <a:gd name="connsiteX9" fmla="*/ 27497 w 141008"/>
                <a:gd name="connsiteY9" fmla="*/ 144299 h 152759"/>
                <a:gd name="connsiteX10" fmla="*/ 18213 w 141008"/>
                <a:gd name="connsiteY10" fmla="*/ 153582 h 152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1008" h="152759">
                  <a:moveTo>
                    <a:pt x="18213" y="153582"/>
                  </a:moveTo>
                  <a:cubicBezTo>
                    <a:pt x="13043" y="153582"/>
                    <a:pt x="8813" y="149351"/>
                    <a:pt x="8813" y="144181"/>
                  </a:cubicBezTo>
                  <a:lnTo>
                    <a:pt x="8813" y="67214"/>
                  </a:lnTo>
                  <a:cubicBezTo>
                    <a:pt x="8813" y="35017"/>
                    <a:pt x="35017" y="8813"/>
                    <a:pt x="67214" y="8813"/>
                  </a:cubicBezTo>
                  <a:lnTo>
                    <a:pt x="128083" y="8813"/>
                  </a:lnTo>
                  <a:cubicBezTo>
                    <a:pt x="133253" y="8813"/>
                    <a:pt x="137483" y="13043"/>
                    <a:pt x="137483" y="18214"/>
                  </a:cubicBezTo>
                  <a:cubicBezTo>
                    <a:pt x="137483" y="23384"/>
                    <a:pt x="133253" y="27614"/>
                    <a:pt x="128083" y="27614"/>
                  </a:cubicBezTo>
                  <a:lnTo>
                    <a:pt x="67214" y="27614"/>
                  </a:lnTo>
                  <a:cubicBezTo>
                    <a:pt x="45358" y="27614"/>
                    <a:pt x="27497" y="45475"/>
                    <a:pt x="27497" y="67332"/>
                  </a:cubicBezTo>
                  <a:lnTo>
                    <a:pt x="27497" y="144299"/>
                  </a:lnTo>
                  <a:cubicBezTo>
                    <a:pt x="27497" y="149351"/>
                    <a:pt x="23384" y="153582"/>
                    <a:pt x="18213" y="15358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253BABE0-640E-26A1-71A4-61A93F1F8996}"/>
                </a:ext>
              </a:extLst>
            </p:cNvPr>
            <p:cNvSpPr/>
            <p:nvPr/>
          </p:nvSpPr>
          <p:spPr>
            <a:xfrm>
              <a:off x="8276696" y="1426531"/>
              <a:ext cx="129258" cy="152759"/>
            </a:xfrm>
            <a:custGeom>
              <a:avLst/>
              <a:gdLst>
                <a:gd name="connsiteX0" fmla="*/ 112807 w 129257"/>
                <a:gd name="connsiteY0" fmla="*/ 152524 h 152759"/>
                <a:gd name="connsiteX1" fmla="*/ 103406 w 129257"/>
                <a:gd name="connsiteY1" fmla="*/ 143124 h 152759"/>
                <a:gd name="connsiteX2" fmla="*/ 103406 w 129257"/>
                <a:gd name="connsiteY2" fmla="*/ 27614 h 152759"/>
                <a:gd name="connsiteX3" fmla="*/ 18214 w 129257"/>
                <a:gd name="connsiteY3" fmla="*/ 27614 h 152759"/>
                <a:gd name="connsiteX4" fmla="*/ 8813 w 129257"/>
                <a:gd name="connsiteY4" fmla="*/ 18214 h 152759"/>
                <a:gd name="connsiteX5" fmla="*/ 18214 w 129257"/>
                <a:gd name="connsiteY5" fmla="*/ 8813 h 152759"/>
                <a:gd name="connsiteX6" fmla="*/ 112690 w 129257"/>
                <a:gd name="connsiteY6" fmla="*/ 8813 h 152759"/>
                <a:gd name="connsiteX7" fmla="*/ 122090 w 129257"/>
                <a:gd name="connsiteY7" fmla="*/ 18214 h 152759"/>
                <a:gd name="connsiteX8" fmla="*/ 122090 w 129257"/>
                <a:gd name="connsiteY8" fmla="*/ 143006 h 152759"/>
                <a:gd name="connsiteX9" fmla="*/ 112807 w 129257"/>
                <a:gd name="connsiteY9" fmla="*/ 152524 h 152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9257" h="152759">
                  <a:moveTo>
                    <a:pt x="112807" y="152524"/>
                  </a:moveTo>
                  <a:cubicBezTo>
                    <a:pt x="107637" y="152524"/>
                    <a:pt x="103406" y="148294"/>
                    <a:pt x="103406" y="143124"/>
                  </a:cubicBezTo>
                  <a:lnTo>
                    <a:pt x="103406" y="27614"/>
                  </a:lnTo>
                  <a:lnTo>
                    <a:pt x="18214" y="27614"/>
                  </a:lnTo>
                  <a:cubicBezTo>
                    <a:pt x="13043" y="27614"/>
                    <a:pt x="8813" y="23384"/>
                    <a:pt x="8813" y="18214"/>
                  </a:cubicBezTo>
                  <a:cubicBezTo>
                    <a:pt x="8813" y="13043"/>
                    <a:pt x="13043" y="8813"/>
                    <a:pt x="18214" y="8813"/>
                  </a:cubicBezTo>
                  <a:lnTo>
                    <a:pt x="112690" y="8813"/>
                  </a:lnTo>
                  <a:cubicBezTo>
                    <a:pt x="117860" y="8813"/>
                    <a:pt x="122090" y="13043"/>
                    <a:pt x="122090" y="18214"/>
                  </a:cubicBezTo>
                  <a:lnTo>
                    <a:pt x="122090" y="143006"/>
                  </a:lnTo>
                  <a:cubicBezTo>
                    <a:pt x="122208" y="148294"/>
                    <a:pt x="117977" y="152524"/>
                    <a:pt x="112807" y="152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50992C7C-69B5-4D65-C18A-59D0D3D4E16A}"/>
                </a:ext>
              </a:extLst>
            </p:cNvPr>
            <p:cNvSpPr/>
            <p:nvPr/>
          </p:nvSpPr>
          <p:spPr>
            <a:xfrm>
              <a:off x="7901731" y="1426649"/>
              <a:ext cx="129258" cy="152759"/>
            </a:xfrm>
            <a:custGeom>
              <a:avLst/>
              <a:gdLst>
                <a:gd name="connsiteX0" fmla="*/ 18213 w 129257"/>
                <a:gd name="connsiteY0" fmla="*/ 152407 h 152759"/>
                <a:gd name="connsiteX1" fmla="*/ 8813 w 129257"/>
                <a:gd name="connsiteY1" fmla="*/ 143006 h 152759"/>
                <a:gd name="connsiteX2" fmla="*/ 8813 w 129257"/>
                <a:gd name="connsiteY2" fmla="*/ 18214 h 152759"/>
                <a:gd name="connsiteX3" fmla="*/ 18213 w 129257"/>
                <a:gd name="connsiteY3" fmla="*/ 8813 h 152759"/>
                <a:gd name="connsiteX4" fmla="*/ 112689 w 129257"/>
                <a:gd name="connsiteY4" fmla="*/ 8813 h 152759"/>
                <a:gd name="connsiteX5" fmla="*/ 122090 w 129257"/>
                <a:gd name="connsiteY5" fmla="*/ 18214 h 152759"/>
                <a:gd name="connsiteX6" fmla="*/ 112689 w 129257"/>
                <a:gd name="connsiteY6" fmla="*/ 27614 h 152759"/>
                <a:gd name="connsiteX7" fmla="*/ 27497 w 129257"/>
                <a:gd name="connsiteY7" fmla="*/ 27614 h 152759"/>
                <a:gd name="connsiteX8" fmla="*/ 27497 w 129257"/>
                <a:gd name="connsiteY8" fmla="*/ 143124 h 152759"/>
                <a:gd name="connsiteX9" fmla="*/ 18213 w 129257"/>
                <a:gd name="connsiteY9" fmla="*/ 152407 h 152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9257" h="152759">
                  <a:moveTo>
                    <a:pt x="18213" y="152407"/>
                  </a:moveTo>
                  <a:cubicBezTo>
                    <a:pt x="13043" y="152407"/>
                    <a:pt x="8813" y="148176"/>
                    <a:pt x="8813" y="143006"/>
                  </a:cubicBezTo>
                  <a:lnTo>
                    <a:pt x="8813" y="18214"/>
                  </a:lnTo>
                  <a:cubicBezTo>
                    <a:pt x="8813" y="13043"/>
                    <a:pt x="13043" y="8813"/>
                    <a:pt x="18213" y="8813"/>
                  </a:cubicBezTo>
                  <a:lnTo>
                    <a:pt x="112689" y="8813"/>
                  </a:lnTo>
                  <a:cubicBezTo>
                    <a:pt x="117860" y="8813"/>
                    <a:pt x="122090" y="13043"/>
                    <a:pt x="122090" y="18214"/>
                  </a:cubicBezTo>
                  <a:cubicBezTo>
                    <a:pt x="122090" y="23384"/>
                    <a:pt x="117860" y="27614"/>
                    <a:pt x="112689" y="27614"/>
                  </a:cubicBezTo>
                  <a:lnTo>
                    <a:pt x="27497" y="27614"/>
                  </a:lnTo>
                  <a:lnTo>
                    <a:pt x="27497" y="143124"/>
                  </a:lnTo>
                  <a:cubicBezTo>
                    <a:pt x="27497" y="148176"/>
                    <a:pt x="23384" y="152407"/>
                    <a:pt x="18213" y="15240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E7102C3E-1573-FCCB-13C9-E71BCE800635}"/>
              </a:ext>
            </a:extLst>
          </p:cNvPr>
          <p:cNvGrpSpPr/>
          <p:nvPr/>
        </p:nvGrpSpPr>
        <p:grpSpPr>
          <a:xfrm>
            <a:off x="11032900" y="3893836"/>
            <a:ext cx="570650" cy="481645"/>
            <a:chOff x="9485106" y="315957"/>
            <a:chExt cx="4122148" cy="3479211"/>
          </a:xfrm>
          <a:solidFill>
            <a:schemeClr val="accent1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586729A5-21DA-315D-87FF-7C99C8639450}"/>
                </a:ext>
              </a:extLst>
            </p:cNvPr>
            <p:cNvSpPr/>
            <p:nvPr/>
          </p:nvSpPr>
          <p:spPr>
            <a:xfrm>
              <a:off x="9485106" y="315957"/>
              <a:ext cx="4122148" cy="2615837"/>
            </a:xfrm>
            <a:custGeom>
              <a:avLst/>
              <a:gdLst>
                <a:gd name="connsiteX0" fmla="*/ 4056017 w 4122147"/>
                <a:gd name="connsiteY0" fmla="*/ 5512 h 2615837"/>
                <a:gd name="connsiteX1" fmla="*/ 69805 w 4122147"/>
                <a:gd name="connsiteY1" fmla="*/ 5512 h 2615837"/>
                <a:gd name="connsiteX2" fmla="*/ 5511 w 4122147"/>
                <a:gd name="connsiteY2" fmla="*/ 69806 h 2615837"/>
                <a:gd name="connsiteX3" fmla="*/ 69805 w 4122147"/>
                <a:gd name="connsiteY3" fmla="*/ 134100 h 2615837"/>
                <a:gd name="connsiteX4" fmla="*/ 920466 w 4122147"/>
                <a:gd name="connsiteY4" fmla="*/ 134100 h 2615837"/>
                <a:gd name="connsiteX5" fmla="*/ 374689 w 4122147"/>
                <a:gd name="connsiteY5" fmla="*/ 2578070 h 2615837"/>
                <a:gd name="connsiteX6" fmla="*/ 391308 w 4122147"/>
                <a:gd name="connsiteY6" fmla="*/ 2577238 h 2615837"/>
                <a:gd name="connsiteX7" fmla="*/ 585166 w 4122147"/>
                <a:gd name="connsiteY7" fmla="*/ 2615470 h 2615837"/>
                <a:gd name="connsiteX8" fmla="*/ 1407686 w 4122147"/>
                <a:gd name="connsiteY8" fmla="*/ 134098 h 2615837"/>
                <a:gd name="connsiteX9" fmla="*/ 1648813 w 4122147"/>
                <a:gd name="connsiteY9" fmla="*/ 134098 h 2615837"/>
                <a:gd name="connsiteX10" fmla="*/ 1796600 w 4122147"/>
                <a:gd name="connsiteY10" fmla="*/ 2588283 h 2615837"/>
                <a:gd name="connsiteX11" fmla="*/ 1796572 w 4122147"/>
                <a:gd name="connsiteY11" fmla="*/ 2588283 h 2615837"/>
                <a:gd name="connsiteX12" fmla="*/ 2007793 w 4122147"/>
                <a:gd name="connsiteY12" fmla="*/ 2588283 h 2615837"/>
                <a:gd name="connsiteX13" fmla="*/ 2155610 w 4122147"/>
                <a:gd name="connsiteY13" fmla="*/ 134098 h 2615837"/>
                <a:gd name="connsiteX14" fmla="*/ 2548889 w 4122147"/>
                <a:gd name="connsiteY14" fmla="*/ 134098 h 2615837"/>
                <a:gd name="connsiteX15" fmla="*/ 2696677 w 4122147"/>
                <a:gd name="connsiteY15" fmla="*/ 2588283 h 2615837"/>
                <a:gd name="connsiteX16" fmla="*/ 2907898 w 4122147"/>
                <a:gd name="connsiteY16" fmla="*/ 2588283 h 2615837"/>
                <a:gd name="connsiteX17" fmla="*/ 3055715 w 4122147"/>
                <a:gd name="connsiteY17" fmla="*/ 134098 h 2615837"/>
                <a:gd name="connsiteX18" fmla="*/ 3448995 w 4122147"/>
                <a:gd name="connsiteY18" fmla="*/ 134098 h 2615837"/>
                <a:gd name="connsiteX19" fmla="*/ 3596782 w 4122147"/>
                <a:gd name="connsiteY19" fmla="*/ 2588283 h 2615837"/>
                <a:gd name="connsiteX20" fmla="*/ 3808003 w 4122147"/>
                <a:gd name="connsiteY20" fmla="*/ 2588283 h 2615837"/>
                <a:gd name="connsiteX21" fmla="*/ 3955820 w 4122147"/>
                <a:gd name="connsiteY21" fmla="*/ 134098 h 2615837"/>
                <a:gd name="connsiteX22" fmla="*/ 4056023 w 4122147"/>
                <a:gd name="connsiteY22" fmla="*/ 134098 h 2615837"/>
                <a:gd name="connsiteX23" fmla="*/ 4120317 w 4122147"/>
                <a:gd name="connsiteY23" fmla="*/ 69805 h 2615837"/>
                <a:gd name="connsiteX24" fmla="*/ 4056023 w 4122147"/>
                <a:gd name="connsiteY24" fmla="*/ 5511 h 2615837"/>
                <a:gd name="connsiteX25" fmla="*/ 597969 w 4122147"/>
                <a:gd name="connsiteY25" fmla="*/ 2168281 h 2615837"/>
                <a:gd name="connsiteX26" fmla="*/ 1051670 w 4122147"/>
                <a:gd name="connsiteY26" fmla="*/ 136598 h 2615837"/>
                <a:gd name="connsiteX27" fmla="*/ 1271988 w 4122147"/>
                <a:gd name="connsiteY27" fmla="*/ 134704 h 2615837"/>
                <a:gd name="connsiteX28" fmla="*/ 1902213 w 4122147"/>
                <a:gd name="connsiteY28" fmla="*/ 2203040 h 2615837"/>
                <a:gd name="connsiteX29" fmla="*/ 1777616 w 4122147"/>
                <a:gd name="connsiteY29" fmla="*/ 134103 h 2615837"/>
                <a:gd name="connsiteX30" fmla="*/ 2026811 w 4122147"/>
                <a:gd name="connsiteY30" fmla="*/ 134103 h 2615837"/>
                <a:gd name="connsiteX31" fmla="*/ 2802326 w 4122147"/>
                <a:gd name="connsiteY31" fmla="*/ 2203040 h 2615837"/>
                <a:gd name="connsiteX32" fmla="*/ 2677728 w 4122147"/>
                <a:gd name="connsiteY32" fmla="*/ 134103 h 2615837"/>
                <a:gd name="connsiteX33" fmla="*/ 2926924 w 4122147"/>
                <a:gd name="connsiteY33" fmla="*/ 134103 h 2615837"/>
                <a:gd name="connsiteX34" fmla="*/ 3702438 w 4122147"/>
                <a:gd name="connsiteY34" fmla="*/ 2203040 h 2615837"/>
                <a:gd name="connsiteX35" fmla="*/ 3577841 w 4122147"/>
                <a:gd name="connsiteY35" fmla="*/ 134103 h 2615837"/>
                <a:gd name="connsiteX36" fmla="*/ 3827036 w 4122147"/>
                <a:gd name="connsiteY36" fmla="*/ 134103 h 2615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122147" h="2615837">
                  <a:moveTo>
                    <a:pt x="4056017" y="5512"/>
                  </a:moveTo>
                  <a:lnTo>
                    <a:pt x="69805" y="5512"/>
                  </a:lnTo>
                  <a:cubicBezTo>
                    <a:pt x="34300" y="5512"/>
                    <a:pt x="5511" y="34301"/>
                    <a:pt x="5511" y="69806"/>
                  </a:cubicBezTo>
                  <a:cubicBezTo>
                    <a:pt x="5511" y="105311"/>
                    <a:pt x="34300" y="134100"/>
                    <a:pt x="69805" y="134100"/>
                  </a:cubicBezTo>
                  <a:lnTo>
                    <a:pt x="920466" y="134100"/>
                  </a:lnTo>
                  <a:lnTo>
                    <a:pt x="374689" y="2578070"/>
                  </a:lnTo>
                  <a:cubicBezTo>
                    <a:pt x="380258" y="2577898"/>
                    <a:pt x="385711" y="2577238"/>
                    <a:pt x="391308" y="2577238"/>
                  </a:cubicBezTo>
                  <a:cubicBezTo>
                    <a:pt x="457812" y="2577238"/>
                    <a:pt x="523657" y="2590240"/>
                    <a:pt x="585166" y="2615470"/>
                  </a:cubicBezTo>
                  <a:lnTo>
                    <a:pt x="1407686" y="134098"/>
                  </a:lnTo>
                  <a:lnTo>
                    <a:pt x="1648813" y="134098"/>
                  </a:lnTo>
                  <a:lnTo>
                    <a:pt x="1796600" y="2588283"/>
                  </a:lnTo>
                  <a:lnTo>
                    <a:pt x="1796572" y="2588283"/>
                  </a:lnTo>
                  <a:cubicBezTo>
                    <a:pt x="1866233" y="2573616"/>
                    <a:pt x="1938165" y="2573616"/>
                    <a:pt x="2007793" y="2588283"/>
                  </a:cubicBezTo>
                  <a:lnTo>
                    <a:pt x="2155610" y="134098"/>
                  </a:lnTo>
                  <a:lnTo>
                    <a:pt x="2548889" y="134098"/>
                  </a:lnTo>
                  <a:lnTo>
                    <a:pt x="2696677" y="2588283"/>
                  </a:lnTo>
                  <a:cubicBezTo>
                    <a:pt x="2766338" y="2573616"/>
                    <a:pt x="2838270" y="2573616"/>
                    <a:pt x="2907898" y="2588283"/>
                  </a:cubicBezTo>
                  <a:lnTo>
                    <a:pt x="3055715" y="134098"/>
                  </a:lnTo>
                  <a:lnTo>
                    <a:pt x="3448995" y="134098"/>
                  </a:lnTo>
                  <a:lnTo>
                    <a:pt x="3596782" y="2588283"/>
                  </a:lnTo>
                  <a:cubicBezTo>
                    <a:pt x="3666444" y="2573616"/>
                    <a:pt x="3738375" y="2573616"/>
                    <a:pt x="3808003" y="2588283"/>
                  </a:cubicBezTo>
                  <a:lnTo>
                    <a:pt x="3955820" y="134098"/>
                  </a:lnTo>
                  <a:lnTo>
                    <a:pt x="4056023" y="134098"/>
                  </a:lnTo>
                  <a:cubicBezTo>
                    <a:pt x="4091528" y="134098"/>
                    <a:pt x="4120317" y="105309"/>
                    <a:pt x="4120317" y="69805"/>
                  </a:cubicBezTo>
                  <a:cubicBezTo>
                    <a:pt x="4120317" y="34300"/>
                    <a:pt x="4091528" y="5511"/>
                    <a:pt x="4056023" y="5511"/>
                  </a:cubicBezTo>
                  <a:close/>
                  <a:moveTo>
                    <a:pt x="597969" y="2168281"/>
                  </a:moveTo>
                  <a:lnTo>
                    <a:pt x="1051670" y="136598"/>
                  </a:lnTo>
                  <a:lnTo>
                    <a:pt x="1271988" y="134704"/>
                  </a:lnTo>
                  <a:close/>
                  <a:moveTo>
                    <a:pt x="1902213" y="2203040"/>
                  </a:moveTo>
                  <a:lnTo>
                    <a:pt x="1777616" y="134103"/>
                  </a:lnTo>
                  <a:lnTo>
                    <a:pt x="2026811" y="134103"/>
                  </a:lnTo>
                  <a:close/>
                  <a:moveTo>
                    <a:pt x="2802326" y="2203040"/>
                  </a:moveTo>
                  <a:lnTo>
                    <a:pt x="2677728" y="134103"/>
                  </a:lnTo>
                  <a:lnTo>
                    <a:pt x="2926924" y="134103"/>
                  </a:lnTo>
                  <a:close/>
                  <a:moveTo>
                    <a:pt x="3702438" y="2203040"/>
                  </a:moveTo>
                  <a:lnTo>
                    <a:pt x="3577841" y="134103"/>
                  </a:lnTo>
                  <a:lnTo>
                    <a:pt x="3827036" y="1341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527CBC0A-A5D9-DB82-4441-F28754C2A444}"/>
                </a:ext>
              </a:extLst>
            </p:cNvPr>
            <p:cNvSpPr/>
            <p:nvPr/>
          </p:nvSpPr>
          <p:spPr>
            <a:xfrm>
              <a:off x="12796197" y="3016295"/>
              <a:ext cx="778873" cy="778873"/>
            </a:xfrm>
            <a:custGeom>
              <a:avLst/>
              <a:gdLst>
                <a:gd name="connsiteX0" fmla="*/ 391273 w 778872"/>
                <a:gd name="connsiteY0" fmla="*/ 5511 h 778872"/>
                <a:gd name="connsiteX1" fmla="*/ 118484 w 778872"/>
                <a:gd name="connsiteY1" fmla="*/ 118484 h 778872"/>
                <a:gd name="connsiteX2" fmla="*/ 5511 w 778872"/>
                <a:gd name="connsiteY2" fmla="*/ 391273 h 778872"/>
                <a:gd name="connsiteX3" fmla="*/ 118484 w 778872"/>
                <a:gd name="connsiteY3" fmla="*/ 664063 h 778872"/>
                <a:gd name="connsiteX4" fmla="*/ 391273 w 778872"/>
                <a:gd name="connsiteY4" fmla="*/ 777036 h 778872"/>
                <a:gd name="connsiteX5" fmla="*/ 664063 w 778872"/>
                <a:gd name="connsiteY5" fmla="*/ 664063 h 778872"/>
                <a:gd name="connsiteX6" fmla="*/ 777036 w 778872"/>
                <a:gd name="connsiteY6" fmla="*/ 391273 h 778872"/>
                <a:gd name="connsiteX7" fmla="*/ 663916 w 778872"/>
                <a:gd name="connsiteY7" fmla="*/ 118631 h 778872"/>
                <a:gd name="connsiteX8" fmla="*/ 391273 w 778872"/>
                <a:gd name="connsiteY8" fmla="*/ 5511 h 778872"/>
                <a:gd name="connsiteX9" fmla="*/ 391273 w 778872"/>
                <a:gd name="connsiteY9" fmla="*/ 648448 h 778872"/>
                <a:gd name="connsiteX10" fmla="*/ 209414 w 778872"/>
                <a:gd name="connsiteY10" fmla="*/ 573133 h 778872"/>
                <a:gd name="connsiteX11" fmla="*/ 134098 w 778872"/>
                <a:gd name="connsiteY11" fmla="*/ 391273 h 778872"/>
                <a:gd name="connsiteX12" fmla="*/ 209414 w 778872"/>
                <a:gd name="connsiteY12" fmla="*/ 209414 h 778872"/>
                <a:gd name="connsiteX13" fmla="*/ 391273 w 778872"/>
                <a:gd name="connsiteY13" fmla="*/ 134098 h 778872"/>
                <a:gd name="connsiteX14" fmla="*/ 573133 w 778872"/>
                <a:gd name="connsiteY14" fmla="*/ 209414 h 778872"/>
                <a:gd name="connsiteX15" fmla="*/ 648448 w 778872"/>
                <a:gd name="connsiteY15" fmla="*/ 391273 h 778872"/>
                <a:gd name="connsiteX16" fmla="*/ 573045 w 778872"/>
                <a:gd name="connsiteY16" fmla="*/ 573045 h 778872"/>
                <a:gd name="connsiteX17" fmla="*/ 391273 w 778872"/>
                <a:gd name="connsiteY17" fmla="*/ 648448 h 778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78872" h="778872">
                  <a:moveTo>
                    <a:pt x="391273" y="5511"/>
                  </a:moveTo>
                  <a:cubicBezTo>
                    <a:pt x="288947" y="5511"/>
                    <a:pt x="190846" y="46153"/>
                    <a:pt x="118484" y="118484"/>
                  </a:cubicBezTo>
                  <a:cubicBezTo>
                    <a:pt x="46153" y="190844"/>
                    <a:pt x="5511" y="288947"/>
                    <a:pt x="5511" y="391273"/>
                  </a:cubicBezTo>
                  <a:cubicBezTo>
                    <a:pt x="5511" y="493600"/>
                    <a:pt x="46153" y="591701"/>
                    <a:pt x="118484" y="664063"/>
                  </a:cubicBezTo>
                  <a:cubicBezTo>
                    <a:pt x="190844" y="736394"/>
                    <a:pt x="288947" y="777036"/>
                    <a:pt x="391273" y="777036"/>
                  </a:cubicBezTo>
                  <a:cubicBezTo>
                    <a:pt x="493600" y="777036"/>
                    <a:pt x="591701" y="736394"/>
                    <a:pt x="664063" y="664063"/>
                  </a:cubicBezTo>
                  <a:cubicBezTo>
                    <a:pt x="736394" y="591703"/>
                    <a:pt x="777036" y="493600"/>
                    <a:pt x="777036" y="391273"/>
                  </a:cubicBezTo>
                  <a:cubicBezTo>
                    <a:pt x="776921" y="289006"/>
                    <a:pt x="736250" y="190956"/>
                    <a:pt x="663916" y="118631"/>
                  </a:cubicBezTo>
                  <a:cubicBezTo>
                    <a:pt x="591582" y="46306"/>
                    <a:pt x="493533" y="5628"/>
                    <a:pt x="391273" y="5511"/>
                  </a:cubicBezTo>
                  <a:close/>
                  <a:moveTo>
                    <a:pt x="391273" y="648448"/>
                  </a:moveTo>
                  <a:cubicBezTo>
                    <a:pt x="323077" y="648448"/>
                    <a:pt x="257660" y="621353"/>
                    <a:pt x="209414" y="573133"/>
                  </a:cubicBezTo>
                  <a:cubicBezTo>
                    <a:pt x="161194" y="524884"/>
                    <a:pt x="134098" y="459469"/>
                    <a:pt x="134098" y="391273"/>
                  </a:cubicBezTo>
                  <a:cubicBezTo>
                    <a:pt x="134098" y="323078"/>
                    <a:pt x="161194" y="257660"/>
                    <a:pt x="209414" y="209414"/>
                  </a:cubicBezTo>
                  <a:cubicBezTo>
                    <a:pt x="257663" y="161194"/>
                    <a:pt x="323078" y="134098"/>
                    <a:pt x="391273" y="134098"/>
                  </a:cubicBezTo>
                  <a:cubicBezTo>
                    <a:pt x="459469" y="134098"/>
                    <a:pt x="524887" y="161194"/>
                    <a:pt x="573133" y="209414"/>
                  </a:cubicBezTo>
                  <a:cubicBezTo>
                    <a:pt x="621353" y="257663"/>
                    <a:pt x="648448" y="323078"/>
                    <a:pt x="648448" y="391273"/>
                  </a:cubicBezTo>
                  <a:cubicBezTo>
                    <a:pt x="648362" y="459470"/>
                    <a:pt x="621238" y="524828"/>
                    <a:pt x="573045" y="573045"/>
                  </a:cubicBezTo>
                  <a:cubicBezTo>
                    <a:pt x="524824" y="621236"/>
                    <a:pt x="459469" y="648360"/>
                    <a:pt x="391273" y="6484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A29D27AC-3BEC-5346-51A5-93635FB2C6D8}"/>
                </a:ext>
              </a:extLst>
            </p:cNvPr>
            <p:cNvSpPr/>
            <p:nvPr/>
          </p:nvSpPr>
          <p:spPr>
            <a:xfrm>
              <a:off x="9485106" y="3016295"/>
              <a:ext cx="778873" cy="778873"/>
            </a:xfrm>
            <a:custGeom>
              <a:avLst/>
              <a:gdLst>
                <a:gd name="connsiteX0" fmla="*/ 391273 w 778872"/>
                <a:gd name="connsiteY0" fmla="*/ 5511 h 778872"/>
                <a:gd name="connsiteX1" fmla="*/ 118484 w 778872"/>
                <a:gd name="connsiteY1" fmla="*/ 118484 h 778872"/>
                <a:gd name="connsiteX2" fmla="*/ 5511 w 778872"/>
                <a:gd name="connsiteY2" fmla="*/ 391273 h 778872"/>
                <a:gd name="connsiteX3" fmla="*/ 118484 w 778872"/>
                <a:gd name="connsiteY3" fmla="*/ 664063 h 778872"/>
                <a:gd name="connsiteX4" fmla="*/ 391273 w 778872"/>
                <a:gd name="connsiteY4" fmla="*/ 777036 h 778872"/>
                <a:gd name="connsiteX5" fmla="*/ 664063 w 778872"/>
                <a:gd name="connsiteY5" fmla="*/ 664063 h 778872"/>
                <a:gd name="connsiteX6" fmla="*/ 777036 w 778872"/>
                <a:gd name="connsiteY6" fmla="*/ 391273 h 778872"/>
                <a:gd name="connsiteX7" fmla="*/ 663916 w 778872"/>
                <a:gd name="connsiteY7" fmla="*/ 118631 h 778872"/>
                <a:gd name="connsiteX8" fmla="*/ 391273 w 778872"/>
                <a:gd name="connsiteY8" fmla="*/ 5511 h 778872"/>
                <a:gd name="connsiteX9" fmla="*/ 391273 w 778872"/>
                <a:gd name="connsiteY9" fmla="*/ 648448 h 778872"/>
                <a:gd name="connsiteX10" fmla="*/ 209414 w 778872"/>
                <a:gd name="connsiteY10" fmla="*/ 573133 h 778872"/>
                <a:gd name="connsiteX11" fmla="*/ 134098 w 778872"/>
                <a:gd name="connsiteY11" fmla="*/ 391273 h 778872"/>
                <a:gd name="connsiteX12" fmla="*/ 209414 w 778872"/>
                <a:gd name="connsiteY12" fmla="*/ 209414 h 778872"/>
                <a:gd name="connsiteX13" fmla="*/ 391273 w 778872"/>
                <a:gd name="connsiteY13" fmla="*/ 134098 h 778872"/>
                <a:gd name="connsiteX14" fmla="*/ 573133 w 778872"/>
                <a:gd name="connsiteY14" fmla="*/ 209414 h 778872"/>
                <a:gd name="connsiteX15" fmla="*/ 648448 w 778872"/>
                <a:gd name="connsiteY15" fmla="*/ 391273 h 778872"/>
                <a:gd name="connsiteX16" fmla="*/ 573045 w 778872"/>
                <a:gd name="connsiteY16" fmla="*/ 573045 h 778872"/>
                <a:gd name="connsiteX17" fmla="*/ 391273 w 778872"/>
                <a:gd name="connsiteY17" fmla="*/ 648448 h 778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78872" h="778872">
                  <a:moveTo>
                    <a:pt x="391273" y="5511"/>
                  </a:moveTo>
                  <a:cubicBezTo>
                    <a:pt x="288947" y="5511"/>
                    <a:pt x="190846" y="46153"/>
                    <a:pt x="118484" y="118484"/>
                  </a:cubicBezTo>
                  <a:cubicBezTo>
                    <a:pt x="46153" y="190844"/>
                    <a:pt x="5511" y="288947"/>
                    <a:pt x="5511" y="391273"/>
                  </a:cubicBezTo>
                  <a:cubicBezTo>
                    <a:pt x="5511" y="493600"/>
                    <a:pt x="46153" y="591701"/>
                    <a:pt x="118484" y="664063"/>
                  </a:cubicBezTo>
                  <a:cubicBezTo>
                    <a:pt x="190844" y="736394"/>
                    <a:pt x="288947" y="777036"/>
                    <a:pt x="391273" y="777036"/>
                  </a:cubicBezTo>
                  <a:cubicBezTo>
                    <a:pt x="493600" y="777036"/>
                    <a:pt x="591701" y="736394"/>
                    <a:pt x="664063" y="664063"/>
                  </a:cubicBezTo>
                  <a:cubicBezTo>
                    <a:pt x="736393" y="591703"/>
                    <a:pt x="777036" y="493600"/>
                    <a:pt x="777036" y="391273"/>
                  </a:cubicBezTo>
                  <a:cubicBezTo>
                    <a:pt x="776921" y="289006"/>
                    <a:pt x="736249" y="190956"/>
                    <a:pt x="663916" y="118631"/>
                  </a:cubicBezTo>
                  <a:cubicBezTo>
                    <a:pt x="591582" y="46306"/>
                    <a:pt x="493534" y="5628"/>
                    <a:pt x="391273" y="5511"/>
                  </a:cubicBezTo>
                  <a:close/>
                  <a:moveTo>
                    <a:pt x="391273" y="648448"/>
                  </a:moveTo>
                  <a:cubicBezTo>
                    <a:pt x="323077" y="648448"/>
                    <a:pt x="257660" y="621353"/>
                    <a:pt x="209414" y="573133"/>
                  </a:cubicBezTo>
                  <a:cubicBezTo>
                    <a:pt x="161194" y="524884"/>
                    <a:pt x="134098" y="459469"/>
                    <a:pt x="134098" y="391273"/>
                  </a:cubicBezTo>
                  <a:cubicBezTo>
                    <a:pt x="134098" y="323078"/>
                    <a:pt x="161194" y="257660"/>
                    <a:pt x="209414" y="209414"/>
                  </a:cubicBezTo>
                  <a:cubicBezTo>
                    <a:pt x="257663" y="161194"/>
                    <a:pt x="323078" y="134098"/>
                    <a:pt x="391273" y="134098"/>
                  </a:cubicBezTo>
                  <a:cubicBezTo>
                    <a:pt x="459469" y="134098"/>
                    <a:pt x="524887" y="161194"/>
                    <a:pt x="573133" y="209414"/>
                  </a:cubicBezTo>
                  <a:cubicBezTo>
                    <a:pt x="621353" y="257663"/>
                    <a:pt x="648448" y="323078"/>
                    <a:pt x="648448" y="391273"/>
                  </a:cubicBezTo>
                  <a:cubicBezTo>
                    <a:pt x="648362" y="459470"/>
                    <a:pt x="621239" y="524828"/>
                    <a:pt x="573045" y="573045"/>
                  </a:cubicBezTo>
                  <a:cubicBezTo>
                    <a:pt x="524824" y="621236"/>
                    <a:pt x="459469" y="648360"/>
                    <a:pt x="391273" y="6484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964A7CD-253E-020C-BE25-7BA1865FE724}"/>
                </a:ext>
              </a:extLst>
            </p:cNvPr>
            <p:cNvSpPr/>
            <p:nvPr/>
          </p:nvSpPr>
          <p:spPr>
            <a:xfrm>
              <a:off x="10995972" y="3016295"/>
              <a:ext cx="778873" cy="778873"/>
            </a:xfrm>
            <a:custGeom>
              <a:avLst/>
              <a:gdLst>
                <a:gd name="connsiteX0" fmla="*/ 391273 w 778872"/>
                <a:gd name="connsiteY0" fmla="*/ 5511 h 778872"/>
                <a:gd name="connsiteX1" fmla="*/ 118484 w 778872"/>
                <a:gd name="connsiteY1" fmla="*/ 118484 h 778872"/>
                <a:gd name="connsiteX2" fmla="*/ 5511 w 778872"/>
                <a:gd name="connsiteY2" fmla="*/ 391273 h 778872"/>
                <a:gd name="connsiteX3" fmla="*/ 118484 w 778872"/>
                <a:gd name="connsiteY3" fmla="*/ 664063 h 778872"/>
                <a:gd name="connsiteX4" fmla="*/ 391273 w 778872"/>
                <a:gd name="connsiteY4" fmla="*/ 777036 h 778872"/>
                <a:gd name="connsiteX5" fmla="*/ 664063 w 778872"/>
                <a:gd name="connsiteY5" fmla="*/ 664063 h 778872"/>
                <a:gd name="connsiteX6" fmla="*/ 777036 w 778872"/>
                <a:gd name="connsiteY6" fmla="*/ 391273 h 778872"/>
                <a:gd name="connsiteX7" fmla="*/ 663916 w 778872"/>
                <a:gd name="connsiteY7" fmla="*/ 118631 h 778872"/>
                <a:gd name="connsiteX8" fmla="*/ 391273 w 778872"/>
                <a:gd name="connsiteY8" fmla="*/ 5511 h 778872"/>
                <a:gd name="connsiteX9" fmla="*/ 391273 w 778872"/>
                <a:gd name="connsiteY9" fmla="*/ 648448 h 778872"/>
                <a:gd name="connsiteX10" fmla="*/ 209414 w 778872"/>
                <a:gd name="connsiteY10" fmla="*/ 573133 h 778872"/>
                <a:gd name="connsiteX11" fmla="*/ 134098 w 778872"/>
                <a:gd name="connsiteY11" fmla="*/ 391273 h 778872"/>
                <a:gd name="connsiteX12" fmla="*/ 209414 w 778872"/>
                <a:gd name="connsiteY12" fmla="*/ 209414 h 778872"/>
                <a:gd name="connsiteX13" fmla="*/ 391273 w 778872"/>
                <a:gd name="connsiteY13" fmla="*/ 134098 h 778872"/>
                <a:gd name="connsiteX14" fmla="*/ 573133 w 778872"/>
                <a:gd name="connsiteY14" fmla="*/ 209414 h 778872"/>
                <a:gd name="connsiteX15" fmla="*/ 648448 w 778872"/>
                <a:gd name="connsiteY15" fmla="*/ 391273 h 778872"/>
                <a:gd name="connsiteX16" fmla="*/ 573045 w 778872"/>
                <a:gd name="connsiteY16" fmla="*/ 573045 h 778872"/>
                <a:gd name="connsiteX17" fmla="*/ 391273 w 778872"/>
                <a:gd name="connsiteY17" fmla="*/ 648448 h 778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78872" h="778872">
                  <a:moveTo>
                    <a:pt x="391273" y="5511"/>
                  </a:moveTo>
                  <a:cubicBezTo>
                    <a:pt x="288947" y="5511"/>
                    <a:pt x="190846" y="46153"/>
                    <a:pt x="118484" y="118484"/>
                  </a:cubicBezTo>
                  <a:cubicBezTo>
                    <a:pt x="46154" y="190844"/>
                    <a:pt x="5511" y="288947"/>
                    <a:pt x="5511" y="391273"/>
                  </a:cubicBezTo>
                  <a:cubicBezTo>
                    <a:pt x="5511" y="493600"/>
                    <a:pt x="46154" y="591701"/>
                    <a:pt x="118484" y="664063"/>
                  </a:cubicBezTo>
                  <a:cubicBezTo>
                    <a:pt x="190844" y="736394"/>
                    <a:pt x="288947" y="777036"/>
                    <a:pt x="391273" y="777036"/>
                  </a:cubicBezTo>
                  <a:cubicBezTo>
                    <a:pt x="493600" y="777036"/>
                    <a:pt x="591701" y="736394"/>
                    <a:pt x="664063" y="664063"/>
                  </a:cubicBezTo>
                  <a:cubicBezTo>
                    <a:pt x="736394" y="591703"/>
                    <a:pt x="777036" y="493600"/>
                    <a:pt x="777036" y="391273"/>
                  </a:cubicBezTo>
                  <a:cubicBezTo>
                    <a:pt x="776921" y="289006"/>
                    <a:pt x="736250" y="190956"/>
                    <a:pt x="663916" y="118631"/>
                  </a:cubicBezTo>
                  <a:cubicBezTo>
                    <a:pt x="591582" y="46306"/>
                    <a:pt x="493533" y="5628"/>
                    <a:pt x="391273" y="5511"/>
                  </a:cubicBezTo>
                  <a:close/>
                  <a:moveTo>
                    <a:pt x="391273" y="648448"/>
                  </a:moveTo>
                  <a:cubicBezTo>
                    <a:pt x="323077" y="648448"/>
                    <a:pt x="257660" y="621353"/>
                    <a:pt x="209414" y="573133"/>
                  </a:cubicBezTo>
                  <a:cubicBezTo>
                    <a:pt x="161194" y="524884"/>
                    <a:pt x="134098" y="459469"/>
                    <a:pt x="134098" y="391273"/>
                  </a:cubicBezTo>
                  <a:cubicBezTo>
                    <a:pt x="134098" y="323078"/>
                    <a:pt x="161194" y="257660"/>
                    <a:pt x="209414" y="209414"/>
                  </a:cubicBezTo>
                  <a:cubicBezTo>
                    <a:pt x="257663" y="161194"/>
                    <a:pt x="323078" y="134098"/>
                    <a:pt x="391273" y="134098"/>
                  </a:cubicBezTo>
                  <a:cubicBezTo>
                    <a:pt x="459469" y="134098"/>
                    <a:pt x="524887" y="161194"/>
                    <a:pt x="573133" y="209414"/>
                  </a:cubicBezTo>
                  <a:cubicBezTo>
                    <a:pt x="621353" y="257663"/>
                    <a:pt x="648448" y="323078"/>
                    <a:pt x="648448" y="391273"/>
                  </a:cubicBezTo>
                  <a:cubicBezTo>
                    <a:pt x="648362" y="459470"/>
                    <a:pt x="621239" y="524828"/>
                    <a:pt x="573045" y="573045"/>
                  </a:cubicBezTo>
                  <a:cubicBezTo>
                    <a:pt x="524824" y="621236"/>
                    <a:pt x="459469" y="648360"/>
                    <a:pt x="391273" y="6484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EA13A8FE-2F2F-8F4F-8A15-83E950CDEABF}"/>
                </a:ext>
              </a:extLst>
            </p:cNvPr>
            <p:cNvSpPr/>
            <p:nvPr/>
          </p:nvSpPr>
          <p:spPr>
            <a:xfrm>
              <a:off x="11896085" y="3016295"/>
              <a:ext cx="778873" cy="778873"/>
            </a:xfrm>
            <a:custGeom>
              <a:avLst/>
              <a:gdLst>
                <a:gd name="connsiteX0" fmla="*/ 391273 w 778872"/>
                <a:gd name="connsiteY0" fmla="*/ 5511 h 778872"/>
                <a:gd name="connsiteX1" fmla="*/ 118484 w 778872"/>
                <a:gd name="connsiteY1" fmla="*/ 118484 h 778872"/>
                <a:gd name="connsiteX2" fmla="*/ 5511 w 778872"/>
                <a:gd name="connsiteY2" fmla="*/ 391273 h 778872"/>
                <a:gd name="connsiteX3" fmla="*/ 118484 w 778872"/>
                <a:gd name="connsiteY3" fmla="*/ 664063 h 778872"/>
                <a:gd name="connsiteX4" fmla="*/ 391273 w 778872"/>
                <a:gd name="connsiteY4" fmla="*/ 777036 h 778872"/>
                <a:gd name="connsiteX5" fmla="*/ 664063 w 778872"/>
                <a:gd name="connsiteY5" fmla="*/ 664063 h 778872"/>
                <a:gd name="connsiteX6" fmla="*/ 777036 w 778872"/>
                <a:gd name="connsiteY6" fmla="*/ 391273 h 778872"/>
                <a:gd name="connsiteX7" fmla="*/ 663916 w 778872"/>
                <a:gd name="connsiteY7" fmla="*/ 118631 h 778872"/>
                <a:gd name="connsiteX8" fmla="*/ 391273 w 778872"/>
                <a:gd name="connsiteY8" fmla="*/ 5511 h 778872"/>
                <a:gd name="connsiteX9" fmla="*/ 391273 w 778872"/>
                <a:gd name="connsiteY9" fmla="*/ 648448 h 778872"/>
                <a:gd name="connsiteX10" fmla="*/ 209414 w 778872"/>
                <a:gd name="connsiteY10" fmla="*/ 573133 h 778872"/>
                <a:gd name="connsiteX11" fmla="*/ 134098 w 778872"/>
                <a:gd name="connsiteY11" fmla="*/ 391273 h 778872"/>
                <a:gd name="connsiteX12" fmla="*/ 209414 w 778872"/>
                <a:gd name="connsiteY12" fmla="*/ 209414 h 778872"/>
                <a:gd name="connsiteX13" fmla="*/ 391273 w 778872"/>
                <a:gd name="connsiteY13" fmla="*/ 134098 h 778872"/>
                <a:gd name="connsiteX14" fmla="*/ 573133 w 778872"/>
                <a:gd name="connsiteY14" fmla="*/ 209414 h 778872"/>
                <a:gd name="connsiteX15" fmla="*/ 648448 w 778872"/>
                <a:gd name="connsiteY15" fmla="*/ 391273 h 778872"/>
                <a:gd name="connsiteX16" fmla="*/ 573045 w 778872"/>
                <a:gd name="connsiteY16" fmla="*/ 573045 h 778872"/>
                <a:gd name="connsiteX17" fmla="*/ 391273 w 778872"/>
                <a:gd name="connsiteY17" fmla="*/ 648448 h 778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78872" h="778872">
                  <a:moveTo>
                    <a:pt x="391273" y="5511"/>
                  </a:moveTo>
                  <a:cubicBezTo>
                    <a:pt x="288947" y="5511"/>
                    <a:pt x="190846" y="46153"/>
                    <a:pt x="118484" y="118484"/>
                  </a:cubicBezTo>
                  <a:cubicBezTo>
                    <a:pt x="46154" y="190844"/>
                    <a:pt x="5511" y="288947"/>
                    <a:pt x="5511" y="391273"/>
                  </a:cubicBezTo>
                  <a:cubicBezTo>
                    <a:pt x="5511" y="493600"/>
                    <a:pt x="46154" y="591701"/>
                    <a:pt x="118484" y="664063"/>
                  </a:cubicBezTo>
                  <a:cubicBezTo>
                    <a:pt x="190844" y="736394"/>
                    <a:pt x="288947" y="777036"/>
                    <a:pt x="391273" y="777036"/>
                  </a:cubicBezTo>
                  <a:cubicBezTo>
                    <a:pt x="493600" y="777036"/>
                    <a:pt x="591701" y="736394"/>
                    <a:pt x="664063" y="664063"/>
                  </a:cubicBezTo>
                  <a:cubicBezTo>
                    <a:pt x="736394" y="591703"/>
                    <a:pt x="777036" y="493600"/>
                    <a:pt x="777036" y="391273"/>
                  </a:cubicBezTo>
                  <a:cubicBezTo>
                    <a:pt x="776921" y="289006"/>
                    <a:pt x="736250" y="190956"/>
                    <a:pt x="663916" y="118631"/>
                  </a:cubicBezTo>
                  <a:cubicBezTo>
                    <a:pt x="591582" y="46306"/>
                    <a:pt x="493533" y="5628"/>
                    <a:pt x="391273" y="5511"/>
                  </a:cubicBezTo>
                  <a:close/>
                  <a:moveTo>
                    <a:pt x="391273" y="648448"/>
                  </a:moveTo>
                  <a:cubicBezTo>
                    <a:pt x="323077" y="648448"/>
                    <a:pt x="257660" y="621353"/>
                    <a:pt x="209414" y="573133"/>
                  </a:cubicBezTo>
                  <a:cubicBezTo>
                    <a:pt x="161194" y="524884"/>
                    <a:pt x="134098" y="459469"/>
                    <a:pt x="134098" y="391273"/>
                  </a:cubicBezTo>
                  <a:cubicBezTo>
                    <a:pt x="134098" y="323078"/>
                    <a:pt x="161194" y="257660"/>
                    <a:pt x="209414" y="209414"/>
                  </a:cubicBezTo>
                  <a:cubicBezTo>
                    <a:pt x="257663" y="161194"/>
                    <a:pt x="323078" y="134098"/>
                    <a:pt x="391273" y="134098"/>
                  </a:cubicBezTo>
                  <a:cubicBezTo>
                    <a:pt x="459469" y="134098"/>
                    <a:pt x="524887" y="161194"/>
                    <a:pt x="573133" y="209414"/>
                  </a:cubicBezTo>
                  <a:cubicBezTo>
                    <a:pt x="621353" y="257663"/>
                    <a:pt x="648448" y="323078"/>
                    <a:pt x="648448" y="391273"/>
                  </a:cubicBezTo>
                  <a:cubicBezTo>
                    <a:pt x="648362" y="459470"/>
                    <a:pt x="621239" y="524828"/>
                    <a:pt x="573045" y="573045"/>
                  </a:cubicBezTo>
                  <a:cubicBezTo>
                    <a:pt x="524824" y="621236"/>
                    <a:pt x="459469" y="648360"/>
                    <a:pt x="391273" y="6484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sp>
        <p:nvSpPr>
          <p:cNvPr id="61" name="Freeform: Shape 60">
            <a:extLst>
              <a:ext uri="{FF2B5EF4-FFF2-40B4-BE49-F238E27FC236}">
                <a16:creationId xmlns:a16="http://schemas.microsoft.com/office/drawing/2014/main" id="{47EFCE8C-1235-FE98-072B-6519F32C4753}"/>
              </a:ext>
            </a:extLst>
          </p:cNvPr>
          <p:cNvSpPr>
            <a:spLocks noChangeAspect="1"/>
          </p:cNvSpPr>
          <p:nvPr/>
        </p:nvSpPr>
        <p:spPr>
          <a:xfrm>
            <a:off x="520684" y="5216750"/>
            <a:ext cx="706181" cy="441856"/>
          </a:xfrm>
          <a:custGeom>
            <a:avLst/>
            <a:gdLst>
              <a:gd name="connsiteX0" fmla="*/ 4230050 w 4243973"/>
              <a:gd name="connsiteY0" fmla="*/ 1301403 h 2655443"/>
              <a:gd name="connsiteX1" fmla="*/ 3513516 w 4243973"/>
              <a:gd name="connsiteY1" fmla="*/ 40608 h 2655443"/>
              <a:gd name="connsiteX2" fmla="*/ 3403798 w 4243973"/>
              <a:gd name="connsiteY2" fmla="*/ 8806 h 2655443"/>
              <a:gd name="connsiteX3" fmla="*/ 3074594 w 4243973"/>
              <a:gd name="connsiteY3" fmla="*/ 196441 h 2655443"/>
              <a:gd name="connsiteX4" fmla="*/ 3042754 w 4243973"/>
              <a:gd name="connsiteY4" fmla="*/ 312742 h 2655443"/>
              <a:gd name="connsiteX5" fmla="*/ 3108617 w 4243973"/>
              <a:gd name="connsiteY5" fmla="*/ 445504 h 2655443"/>
              <a:gd name="connsiteX6" fmla="*/ 2949492 w 4243973"/>
              <a:gd name="connsiteY6" fmla="*/ 483927 h 2655443"/>
              <a:gd name="connsiteX7" fmla="*/ 2795872 w 4243973"/>
              <a:gd name="connsiteY7" fmla="*/ 448795 h 2655443"/>
              <a:gd name="connsiteX8" fmla="*/ 1756787 w 4243973"/>
              <a:gd name="connsiteY8" fmla="*/ 448795 h 2655443"/>
              <a:gd name="connsiteX9" fmla="*/ 1549402 w 4243973"/>
              <a:gd name="connsiteY9" fmla="*/ 577187 h 2655443"/>
              <a:gd name="connsiteX10" fmla="*/ 1363942 w 4243973"/>
              <a:gd name="connsiteY10" fmla="*/ 553039 h 2655443"/>
              <a:gd name="connsiteX11" fmla="*/ 1156556 w 4243973"/>
              <a:gd name="connsiteY11" fmla="*/ 414811 h 2655443"/>
              <a:gd name="connsiteX12" fmla="*/ 1202633 w 4243973"/>
              <a:gd name="connsiteY12" fmla="*/ 333602 h 2655443"/>
              <a:gd name="connsiteX13" fmla="*/ 1202671 w 4243973"/>
              <a:gd name="connsiteY13" fmla="*/ 333602 h 2655443"/>
              <a:gd name="connsiteX14" fmla="*/ 1170830 w 4243973"/>
              <a:gd name="connsiteY14" fmla="*/ 217300 h 2655443"/>
              <a:gd name="connsiteX15" fmla="*/ 841627 w 4243973"/>
              <a:gd name="connsiteY15" fmla="*/ 29665 h 2655443"/>
              <a:gd name="connsiteX16" fmla="*/ 776912 w 4243973"/>
              <a:gd name="connsiteY16" fmla="*/ 21973 h 2655443"/>
              <a:gd name="connsiteX17" fmla="*/ 725324 w 4243973"/>
              <a:gd name="connsiteY17" fmla="*/ 61467 h 2655443"/>
              <a:gd name="connsiteX18" fmla="*/ 11014 w 4243973"/>
              <a:gd name="connsiteY18" fmla="*/ 1323339 h 2655443"/>
              <a:gd name="connsiteX19" fmla="*/ 3322 w 4243973"/>
              <a:gd name="connsiteY19" fmla="*/ 1388092 h 2655443"/>
              <a:gd name="connsiteX20" fmla="*/ 42816 w 4243973"/>
              <a:gd name="connsiteY20" fmla="*/ 1439642 h 2655443"/>
              <a:gd name="connsiteX21" fmla="*/ 372020 w 4243973"/>
              <a:gd name="connsiteY21" fmla="*/ 1627276 h 2655443"/>
              <a:gd name="connsiteX22" fmla="*/ 413696 w 4243973"/>
              <a:gd name="connsiteY22" fmla="*/ 1638260 h 2655443"/>
              <a:gd name="connsiteX23" fmla="*/ 436735 w 4243973"/>
              <a:gd name="connsiteY23" fmla="*/ 1638260 h 2655443"/>
              <a:gd name="connsiteX24" fmla="*/ 488322 w 4243973"/>
              <a:gd name="connsiteY24" fmla="*/ 1598766 h 2655443"/>
              <a:gd name="connsiteX25" fmla="*/ 566240 w 4243973"/>
              <a:gd name="connsiteY25" fmla="*/ 1462713 h 2655443"/>
              <a:gd name="connsiteX26" fmla="*/ 566240 w 4243973"/>
              <a:gd name="connsiteY26" fmla="*/ 1462675 h 2655443"/>
              <a:gd name="connsiteX27" fmla="*/ 775811 w 4243973"/>
              <a:gd name="connsiteY27" fmla="*/ 1705193 h 2655443"/>
              <a:gd name="connsiteX28" fmla="*/ 758245 w 4243973"/>
              <a:gd name="connsiteY28" fmla="*/ 1730413 h 2655443"/>
              <a:gd name="connsiteX29" fmla="*/ 718750 w 4243973"/>
              <a:gd name="connsiteY29" fmla="*/ 1855522 h 2655443"/>
              <a:gd name="connsiteX30" fmla="*/ 809833 w 4243973"/>
              <a:gd name="connsiteY30" fmla="*/ 2033292 h 2655443"/>
              <a:gd name="connsiteX31" fmla="*/ 934943 w 4243973"/>
              <a:gd name="connsiteY31" fmla="*/ 2073896 h 2655443"/>
              <a:gd name="connsiteX32" fmla="*/ 943707 w 4243973"/>
              <a:gd name="connsiteY32" fmla="*/ 2073896 h 2655443"/>
              <a:gd name="connsiteX33" fmla="*/ 943707 w 4243973"/>
              <a:gd name="connsiteY33" fmla="*/ 2139721 h 2655443"/>
              <a:gd name="connsiteX34" fmla="*/ 1032570 w 4243973"/>
              <a:gd name="connsiteY34" fmla="*/ 2280173 h 2655443"/>
              <a:gd name="connsiteX35" fmla="*/ 1157679 w 4243973"/>
              <a:gd name="connsiteY35" fmla="*/ 2320777 h 2655443"/>
              <a:gd name="connsiteX36" fmla="*/ 1223504 w 4243973"/>
              <a:gd name="connsiteY36" fmla="*/ 2310903 h 2655443"/>
              <a:gd name="connsiteX37" fmla="*/ 1331616 w 4243973"/>
              <a:gd name="connsiteY37" fmla="*/ 2460153 h 2655443"/>
              <a:gd name="connsiteX38" fmla="*/ 1515390 w 4243973"/>
              <a:gd name="connsiteY38" fmla="*/ 2474389 h 2655443"/>
              <a:gd name="connsiteX39" fmla="*/ 1600963 w 4243973"/>
              <a:gd name="connsiteY39" fmla="*/ 2600567 h 2655443"/>
              <a:gd name="connsiteX40" fmla="*/ 1726072 w 4243973"/>
              <a:gd name="connsiteY40" fmla="*/ 2640061 h 2655443"/>
              <a:gd name="connsiteX41" fmla="*/ 1763386 w 4243973"/>
              <a:gd name="connsiteY41" fmla="*/ 2640061 h 2655443"/>
              <a:gd name="connsiteX42" fmla="*/ 1903838 w 4243973"/>
              <a:gd name="connsiteY42" fmla="*/ 2552308 h 2655443"/>
              <a:gd name="connsiteX43" fmla="*/ 1903838 w 4243973"/>
              <a:gd name="connsiteY43" fmla="*/ 2545726 h 2655443"/>
              <a:gd name="connsiteX44" fmla="*/ 2306549 w 4243973"/>
              <a:gd name="connsiteY44" fmla="*/ 2655444 h 2655443"/>
              <a:gd name="connsiteX45" fmla="*/ 2450293 w 4243973"/>
              <a:gd name="connsiteY45" fmla="*/ 2629114 h 2655443"/>
              <a:gd name="connsiteX46" fmla="*/ 2633529 w 4243973"/>
              <a:gd name="connsiteY46" fmla="*/ 2479864 h 2655443"/>
              <a:gd name="connsiteX47" fmla="*/ 2669732 w 4243973"/>
              <a:gd name="connsiteY47" fmla="*/ 2479864 h 2655443"/>
              <a:gd name="connsiteX48" fmla="*/ 2842025 w 4243973"/>
              <a:gd name="connsiteY48" fmla="*/ 2427205 h 2655443"/>
              <a:gd name="connsiteX49" fmla="*/ 2958327 w 4243973"/>
              <a:gd name="connsiteY49" fmla="*/ 2252727 h 2655443"/>
              <a:gd name="connsiteX50" fmla="*/ 3136096 w 4243973"/>
              <a:gd name="connsiteY50" fmla="*/ 2161644 h 2655443"/>
              <a:gd name="connsiteX51" fmla="*/ 3211794 w 4243973"/>
              <a:gd name="connsiteY51" fmla="*/ 2027776 h 2655443"/>
              <a:gd name="connsiteX52" fmla="*/ 3431231 w 4243973"/>
              <a:gd name="connsiteY52" fmla="*/ 1910406 h 2655443"/>
              <a:gd name="connsiteX53" fmla="*/ 3463071 w 4243973"/>
              <a:gd name="connsiteY53" fmla="*/ 1731530 h 2655443"/>
              <a:gd name="connsiteX54" fmla="*/ 3434522 w 4243973"/>
              <a:gd name="connsiteY54" fmla="*/ 1660195 h 2655443"/>
              <a:gd name="connsiteX55" fmla="*/ 3693499 w 4243973"/>
              <a:gd name="connsiteY55" fmla="*/ 1458325 h 2655443"/>
              <a:gd name="connsiteX56" fmla="*/ 3757142 w 4243973"/>
              <a:gd name="connsiteY56" fmla="*/ 1568043 h 2655443"/>
              <a:gd name="connsiteX57" fmla="*/ 3808730 w 4243973"/>
              <a:gd name="connsiteY57" fmla="*/ 1608647 h 2655443"/>
              <a:gd name="connsiteX58" fmla="*/ 3831769 w 4243973"/>
              <a:gd name="connsiteY58" fmla="*/ 1608647 h 2655443"/>
              <a:gd name="connsiteX59" fmla="*/ 3873445 w 4243973"/>
              <a:gd name="connsiteY59" fmla="*/ 1597664 h 2655443"/>
              <a:gd name="connsiteX60" fmla="*/ 4202649 w 4243973"/>
              <a:gd name="connsiteY60" fmla="*/ 1410029 h 2655443"/>
              <a:gd name="connsiteX61" fmla="*/ 4243253 w 4243973"/>
              <a:gd name="connsiteY61" fmla="*/ 1358479 h 2655443"/>
              <a:gd name="connsiteX62" fmla="*/ 4230088 w 4243973"/>
              <a:gd name="connsiteY62" fmla="*/ 1301419 h 2655443"/>
              <a:gd name="connsiteX63" fmla="*/ 514679 w 4243973"/>
              <a:gd name="connsiteY63" fmla="*/ 1323331 h 2655443"/>
              <a:gd name="connsiteX64" fmla="*/ 404961 w 4243973"/>
              <a:gd name="connsiteY64" fmla="*/ 1508792 h 2655443"/>
              <a:gd name="connsiteX65" fmla="*/ 118590 w 4243973"/>
              <a:gd name="connsiteY65" fmla="*/ 1354065 h 2655443"/>
              <a:gd name="connsiteX66" fmla="*/ 812081 w 4243973"/>
              <a:gd name="connsiteY66" fmla="*/ 137162 h 2655443"/>
              <a:gd name="connsiteX67" fmla="*/ 1098452 w 4243973"/>
              <a:gd name="connsiteY67" fmla="*/ 300657 h 2655443"/>
              <a:gd name="connsiteX68" fmla="*/ 1023827 w 4243973"/>
              <a:gd name="connsiteY68" fmla="*/ 1913688 h 2655443"/>
              <a:gd name="connsiteX69" fmla="*/ 875684 w 4243973"/>
              <a:gd name="connsiteY69" fmla="*/ 1937797 h 2655443"/>
              <a:gd name="connsiteX70" fmla="*/ 850465 w 4243973"/>
              <a:gd name="connsiteY70" fmla="*/ 1788587 h 2655443"/>
              <a:gd name="connsiteX71" fmla="*/ 889959 w 4243973"/>
              <a:gd name="connsiteY71" fmla="*/ 1731526 h 2655443"/>
              <a:gd name="connsiteX72" fmla="*/ 940437 w 4243973"/>
              <a:gd name="connsiteY72" fmla="*/ 1661301 h 2655443"/>
              <a:gd name="connsiteX73" fmla="*/ 1090764 w 4243973"/>
              <a:gd name="connsiteY73" fmla="*/ 1636081 h 2655443"/>
              <a:gd name="connsiteX74" fmla="*/ 1124786 w 4243973"/>
              <a:gd name="connsiteY74" fmla="*/ 1772134 h 2655443"/>
              <a:gd name="connsiteX75" fmla="*/ 1260830 w 4243973"/>
              <a:gd name="connsiteY75" fmla="*/ 2140825 h 2655443"/>
              <a:gd name="connsiteX76" fmla="*/ 1246555 w 4243973"/>
              <a:gd name="connsiteY76" fmla="*/ 2160572 h 2655443"/>
              <a:gd name="connsiteX77" fmla="*/ 1175105 w 4243973"/>
              <a:gd name="connsiteY77" fmla="*/ 2222340 h 2655443"/>
              <a:gd name="connsiteX78" fmla="*/ 1082146 w 4243973"/>
              <a:gd name="connsiteY78" fmla="*/ 2205693 h 2655443"/>
              <a:gd name="connsiteX79" fmla="*/ 1036529 w 4243973"/>
              <a:gd name="connsiteY79" fmla="*/ 2122991 h 2655443"/>
              <a:gd name="connsiteX80" fmla="*/ 1072120 w 4243973"/>
              <a:gd name="connsiteY80" fmla="*/ 2035467 h 2655443"/>
              <a:gd name="connsiteX81" fmla="*/ 1111614 w 4243973"/>
              <a:gd name="connsiteY81" fmla="*/ 1981697 h 2655443"/>
              <a:gd name="connsiteX82" fmla="*/ 1201587 w 4243973"/>
              <a:gd name="connsiteY82" fmla="*/ 1855520 h 2655443"/>
              <a:gd name="connsiteX83" fmla="*/ 1320113 w 4243973"/>
              <a:gd name="connsiteY83" fmla="*/ 1688744 h 2655443"/>
              <a:gd name="connsiteX84" fmla="*/ 1320075 w 4243973"/>
              <a:gd name="connsiteY84" fmla="*/ 1688744 h 2655443"/>
              <a:gd name="connsiteX85" fmla="*/ 1388272 w 4243973"/>
              <a:gd name="connsiteY85" fmla="*/ 1639107 h 2655443"/>
              <a:gd name="connsiteX86" fmla="*/ 1471509 w 4243973"/>
              <a:gd name="connsiteY86" fmla="*/ 1652540 h 2655443"/>
              <a:gd name="connsiteX87" fmla="*/ 1515405 w 4243973"/>
              <a:gd name="connsiteY87" fmla="*/ 1722766 h 2655443"/>
              <a:gd name="connsiteX88" fmla="*/ 1496768 w 4243973"/>
              <a:gd name="connsiteY88" fmla="*/ 1802866 h 2655443"/>
              <a:gd name="connsiteX89" fmla="*/ 1457274 w 4243973"/>
              <a:gd name="connsiteY89" fmla="*/ 1858816 h 2655443"/>
              <a:gd name="connsiteX90" fmla="*/ 1551609 w 4243973"/>
              <a:gd name="connsiteY90" fmla="*/ 2292259 h 2655443"/>
              <a:gd name="connsiteX91" fmla="*/ 1525279 w 4243973"/>
              <a:gd name="connsiteY91" fmla="*/ 2328462 h 2655443"/>
              <a:gd name="connsiteX92" fmla="*/ 1453025 w 4243973"/>
              <a:gd name="connsiteY92" fmla="*/ 2390078 h 2655443"/>
              <a:gd name="connsiteX93" fmla="*/ 1359761 w 4243973"/>
              <a:gd name="connsiteY93" fmla="*/ 2372282 h 2655443"/>
              <a:gd name="connsiteX94" fmla="*/ 1315329 w 4243973"/>
              <a:gd name="connsiteY94" fmla="*/ 2288318 h 2655443"/>
              <a:gd name="connsiteX95" fmla="*/ 1353026 w 4243973"/>
              <a:gd name="connsiteY95" fmla="*/ 2201177 h 2655443"/>
              <a:gd name="connsiteX96" fmla="*/ 1549429 w 4243973"/>
              <a:gd name="connsiteY96" fmla="*/ 1924672 h 2655443"/>
              <a:gd name="connsiteX97" fmla="*/ 1549429 w 4243973"/>
              <a:gd name="connsiteY97" fmla="*/ 1924634 h 2655443"/>
              <a:gd name="connsiteX98" fmla="*/ 1659569 w 4243973"/>
              <a:gd name="connsiteY98" fmla="*/ 1890765 h 2655443"/>
              <a:gd name="connsiteX99" fmla="*/ 1739247 w 4243973"/>
              <a:gd name="connsiteY99" fmla="*/ 1974003 h 2655443"/>
              <a:gd name="connsiteX100" fmla="*/ 1720610 w 4243973"/>
              <a:gd name="connsiteY100" fmla="*/ 2054141 h 2655443"/>
              <a:gd name="connsiteX101" fmla="*/ 1654784 w 4243973"/>
              <a:gd name="connsiteY101" fmla="*/ 2147405 h 2655443"/>
              <a:gd name="connsiteX102" fmla="*/ 1920305 w 4243973"/>
              <a:gd name="connsiteY102" fmla="*/ 2335045 h 2655443"/>
              <a:gd name="connsiteX103" fmla="*/ 1851189 w 4243973"/>
              <a:gd name="connsiteY103" fmla="*/ 2430491 h 2655443"/>
              <a:gd name="connsiteX104" fmla="*/ 1842425 w 4243973"/>
              <a:gd name="connsiteY104" fmla="*/ 2443656 h 2655443"/>
              <a:gd name="connsiteX105" fmla="*/ 1814985 w 4243973"/>
              <a:gd name="connsiteY105" fmla="*/ 2480970 h 2655443"/>
              <a:gd name="connsiteX106" fmla="*/ 1679932 w 4243973"/>
              <a:gd name="connsiteY106" fmla="*/ 2498613 h 2655443"/>
              <a:gd name="connsiteX107" fmla="*/ 1631711 w 4243973"/>
              <a:gd name="connsiteY107" fmla="*/ 2371250 h 2655443"/>
              <a:gd name="connsiteX108" fmla="*/ 1640475 w 4243973"/>
              <a:gd name="connsiteY108" fmla="*/ 2356975 h 2655443"/>
              <a:gd name="connsiteX109" fmla="*/ 1744726 w 4243973"/>
              <a:gd name="connsiteY109" fmla="*/ 2211047 h 2655443"/>
              <a:gd name="connsiteX110" fmla="*/ 1744765 w 4243973"/>
              <a:gd name="connsiteY110" fmla="*/ 2211047 h 2655443"/>
              <a:gd name="connsiteX111" fmla="*/ 1892868 w 4243973"/>
              <a:gd name="connsiteY111" fmla="*/ 2188008 h 2655443"/>
              <a:gd name="connsiteX112" fmla="*/ 1918126 w 4243973"/>
              <a:gd name="connsiteY112" fmla="*/ 2338335 h 2655443"/>
              <a:gd name="connsiteX113" fmla="*/ 3335796 w 4243973"/>
              <a:gd name="connsiteY113" fmla="*/ 1852232 h 2655443"/>
              <a:gd name="connsiteX114" fmla="*/ 3176671 w 4243973"/>
              <a:gd name="connsiteY114" fmla="*/ 1923567 h 2655443"/>
              <a:gd name="connsiteX115" fmla="*/ 2528188 w 4243973"/>
              <a:gd name="connsiteY115" fmla="*/ 1517564 h 2655443"/>
              <a:gd name="connsiteX116" fmla="*/ 2452490 w 4243973"/>
              <a:gd name="connsiteY116" fmla="*/ 1534020 h 2655443"/>
              <a:gd name="connsiteX117" fmla="*/ 2445103 w 4243973"/>
              <a:gd name="connsiteY117" fmla="*/ 1575620 h 2655443"/>
              <a:gd name="connsiteX118" fmla="*/ 2470056 w 4243973"/>
              <a:gd name="connsiteY118" fmla="*/ 1609719 h 2655443"/>
              <a:gd name="connsiteX119" fmla="*/ 3102089 w 4243973"/>
              <a:gd name="connsiteY119" fmla="*/ 2006924 h 2655443"/>
              <a:gd name="connsiteX120" fmla="*/ 3102089 w 4243973"/>
              <a:gd name="connsiteY120" fmla="*/ 2006963 h 2655443"/>
              <a:gd name="connsiteX121" fmla="*/ 3050501 w 4243973"/>
              <a:gd name="connsiteY121" fmla="*/ 2092535 h 2655443"/>
              <a:gd name="connsiteX122" fmla="*/ 2922139 w 4243973"/>
              <a:gd name="connsiteY122" fmla="*/ 2148485 h 2655443"/>
              <a:gd name="connsiteX123" fmla="*/ 2349349 w 4243973"/>
              <a:gd name="connsiteY123" fmla="*/ 1828089 h 2655443"/>
              <a:gd name="connsiteX124" fmla="*/ 2274186 w 4243973"/>
              <a:gd name="connsiteY124" fmla="*/ 1849482 h 2655443"/>
              <a:gd name="connsiteX125" fmla="*/ 2295580 w 4243973"/>
              <a:gd name="connsiteY125" fmla="*/ 1924645 h 2655443"/>
              <a:gd name="connsiteX126" fmla="*/ 2844220 w 4243973"/>
              <a:gd name="connsiteY126" fmla="*/ 2230766 h 2655443"/>
              <a:gd name="connsiteX127" fmla="*/ 2844220 w 4243973"/>
              <a:gd name="connsiteY127" fmla="*/ 2230805 h 2655443"/>
              <a:gd name="connsiteX128" fmla="*/ 2771775 w 4243973"/>
              <a:gd name="connsiteY128" fmla="*/ 2340523 h 2655443"/>
              <a:gd name="connsiteX129" fmla="*/ 2610503 w 4243973"/>
              <a:gd name="connsiteY129" fmla="*/ 2366853 h 2655443"/>
              <a:gd name="connsiteX130" fmla="*/ 2603921 w 4243973"/>
              <a:gd name="connsiteY130" fmla="*/ 2366853 h 2655443"/>
              <a:gd name="connsiteX131" fmla="*/ 2592938 w 4243973"/>
              <a:gd name="connsiteY131" fmla="*/ 2358089 h 2655443"/>
              <a:gd name="connsiteX132" fmla="*/ 2154016 w 4243973"/>
              <a:gd name="connsiteY132" fmla="*/ 2138652 h 2655443"/>
              <a:gd name="connsiteX133" fmla="*/ 2154016 w 4243973"/>
              <a:gd name="connsiteY133" fmla="*/ 2138614 h 2655443"/>
              <a:gd name="connsiteX134" fmla="*/ 2083982 w 4243973"/>
              <a:gd name="connsiteY134" fmla="*/ 2164523 h 2655443"/>
              <a:gd name="connsiteX135" fmla="*/ 2104648 w 4243973"/>
              <a:gd name="connsiteY135" fmla="*/ 2236279 h 2655443"/>
              <a:gd name="connsiteX136" fmla="*/ 2524896 w 4243973"/>
              <a:gd name="connsiteY136" fmla="*/ 2448064 h 2655443"/>
              <a:gd name="connsiteX137" fmla="*/ 2415178 w 4243973"/>
              <a:gd name="connsiteY137" fmla="*/ 2530344 h 2655443"/>
              <a:gd name="connsiteX138" fmla="*/ 1976256 w 4243973"/>
              <a:gd name="connsiteY138" fmla="*/ 2452426 h 2655443"/>
              <a:gd name="connsiteX139" fmla="*/ 2011388 w 4243973"/>
              <a:gd name="connsiteY139" fmla="*/ 2398695 h 2655443"/>
              <a:gd name="connsiteX140" fmla="*/ 2048701 w 4243973"/>
              <a:gd name="connsiteY140" fmla="*/ 2236278 h 2655443"/>
              <a:gd name="connsiteX141" fmla="*/ 1977901 w 4243973"/>
              <a:gd name="connsiteY141" fmla="*/ 2110865 h 2655443"/>
              <a:gd name="connsiteX142" fmla="*/ 1844611 w 4243973"/>
              <a:gd name="connsiteY142" fmla="*/ 2056330 h 2655443"/>
              <a:gd name="connsiteX143" fmla="*/ 1851194 w 4243973"/>
              <a:gd name="connsiteY143" fmla="*/ 1954263 h 2655443"/>
              <a:gd name="connsiteX144" fmla="*/ 1763402 w 4243973"/>
              <a:gd name="connsiteY144" fmla="*/ 1813812 h 2655443"/>
              <a:gd name="connsiteX145" fmla="*/ 1627350 w 4243973"/>
              <a:gd name="connsiteY145" fmla="*/ 1773245 h 2655443"/>
              <a:gd name="connsiteX146" fmla="*/ 1627350 w 4243973"/>
              <a:gd name="connsiteY146" fmla="*/ 1709602 h 2655443"/>
              <a:gd name="connsiteX147" fmla="*/ 1537721 w 4243973"/>
              <a:gd name="connsiteY147" fmla="*/ 1570835 h 2655443"/>
              <a:gd name="connsiteX148" fmla="*/ 1376754 w 4243973"/>
              <a:gd name="connsiteY148" fmla="*/ 1533867 h 2655443"/>
              <a:gd name="connsiteX149" fmla="*/ 1235617 w 4243973"/>
              <a:gd name="connsiteY149" fmla="*/ 1619592 h 2655443"/>
              <a:gd name="connsiteX150" fmla="*/ 1225743 w 4243973"/>
              <a:gd name="connsiteY150" fmla="*/ 1632757 h 2655443"/>
              <a:gd name="connsiteX151" fmla="*/ 1225743 w 4243973"/>
              <a:gd name="connsiteY151" fmla="*/ 1632796 h 2655443"/>
              <a:gd name="connsiteX152" fmla="*/ 1155517 w 4243973"/>
              <a:gd name="connsiteY152" fmla="*/ 1548295 h 2655443"/>
              <a:gd name="connsiteX153" fmla="*/ 993786 w 4243973"/>
              <a:gd name="connsiteY153" fmla="*/ 1511747 h 2655443"/>
              <a:gd name="connsiteX154" fmla="*/ 852648 w 4243973"/>
              <a:gd name="connsiteY154" fmla="*/ 1598773 h 2655443"/>
              <a:gd name="connsiteX155" fmla="*/ 843884 w 4243973"/>
              <a:gd name="connsiteY155" fmla="*/ 1609757 h 2655443"/>
              <a:gd name="connsiteX156" fmla="*/ 843884 w 4243973"/>
              <a:gd name="connsiteY156" fmla="*/ 1609718 h 2655443"/>
              <a:gd name="connsiteX157" fmla="*/ 624409 w 4243973"/>
              <a:gd name="connsiteY157" fmla="*/ 1352965 h 2655443"/>
              <a:gd name="connsiteX158" fmla="*/ 1102823 w 4243973"/>
              <a:gd name="connsiteY158" fmla="*/ 512438 h 2655443"/>
              <a:gd name="connsiteX159" fmla="*/ 1353032 w 4243973"/>
              <a:gd name="connsiteY159" fmla="*/ 664980 h 2655443"/>
              <a:gd name="connsiteX160" fmla="*/ 1462750 w 4243973"/>
              <a:gd name="connsiteY160" fmla="*/ 680326 h 2655443"/>
              <a:gd name="connsiteX161" fmla="*/ 1344224 w 4243973"/>
              <a:gd name="connsiteY161" fmla="*/ 930496 h 2655443"/>
              <a:gd name="connsiteX162" fmla="*/ 1408978 w 4243973"/>
              <a:gd name="connsiteY162" fmla="*/ 1159847 h 2655443"/>
              <a:gd name="connsiteX163" fmla="*/ 1628414 w 4243973"/>
              <a:gd name="connsiteY163" fmla="*/ 1225672 h 2655443"/>
              <a:gd name="connsiteX164" fmla="*/ 1841306 w 4243973"/>
              <a:gd name="connsiteY164" fmla="*/ 1097310 h 2655443"/>
              <a:gd name="connsiteX165" fmla="*/ 1951024 w 4243973"/>
              <a:gd name="connsiteY165" fmla="*/ 951382 h 2655443"/>
              <a:gd name="connsiteX166" fmla="*/ 2105751 w 4243973"/>
              <a:gd name="connsiteY166" fmla="*/ 910777 h 2655443"/>
              <a:gd name="connsiteX167" fmla="*/ 2105751 w 4243973"/>
              <a:gd name="connsiteY167" fmla="*/ 910739 h 2655443"/>
              <a:gd name="connsiteX168" fmla="*/ 3291891 w 4243973"/>
              <a:gd name="connsiteY168" fmla="*/ 1678855 h 2655443"/>
              <a:gd name="connsiteX169" fmla="*/ 3298473 w 4243973"/>
              <a:gd name="connsiteY169" fmla="*/ 1678855 h 2655443"/>
              <a:gd name="connsiteX170" fmla="*/ 3309457 w 4243973"/>
              <a:gd name="connsiteY170" fmla="*/ 1688729 h 2655443"/>
              <a:gd name="connsiteX171" fmla="*/ 3352243 w 4243973"/>
              <a:gd name="connsiteY171" fmla="*/ 1756734 h 2655443"/>
              <a:gd name="connsiteX172" fmla="*/ 3335787 w 4243973"/>
              <a:gd name="connsiteY172" fmla="*/ 1852218 h 2655443"/>
              <a:gd name="connsiteX173" fmla="*/ 3350071 w 4243973"/>
              <a:gd name="connsiteY173" fmla="*/ 1579019 h 2655443"/>
              <a:gd name="connsiteX174" fmla="*/ 2135421 w 4243973"/>
              <a:gd name="connsiteY174" fmla="*/ 801028 h 2655443"/>
              <a:gd name="connsiteX175" fmla="*/ 2104690 w 4243973"/>
              <a:gd name="connsiteY175" fmla="*/ 801028 h 2655443"/>
              <a:gd name="connsiteX176" fmla="*/ 2082723 w 4243973"/>
              <a:gd name="connsiteY176" fmla="*/ 801028 h 2655443"/>
              <a:gd name="connsiteX177" fmla="*/ 1912654 w 4243973"/>
              <a:gd name="connsiteY177" fmla="*/ 846034 h 2655443"/>
              <a:gd name="connsiteX178" fmla="*/ 1866577 w 4243973"/>
              <a:gd name="connsiteY178" fmla="*/ 876727 h 2655443"/>
              <a:gd name="connsiteX179" fmla="*/ 1756859 w 4243973"/>
              <a:gd name="connsiteY179" fmla="*/ 1028161 h 2655443"/>
              <a:gd name="connsiteX180" fmla="*/ 1606532 w 4243973"/>
              <a:gd name="connsiteY180" fmla="*/ 1118134 h 2655443"/>
              <a:gd name="connsiteX181" fmla="*/ 1485831 w 4243973"/>
              <a:gd name="connsiteY181" fmla="*/ 1081931 h 2655443"/>
              <a:gd name="connsiteX182" fmla="*/ 1449627 w 4243973"/>
              <a:gd name="connsiteY182" fmla="*/ 953569 h 2655443"/>
              <a:gd name="connsiteX183" fmla="*/ 1612005 w 4243973"/>
              <a:gd name="connsiteY183" fmla="*/ 678142 h 2655443"/>
              <a:gd name="connsiteX184" fmla="*/ 1810623 w 4243973"/>
              <a:gd name="connsiteY184" fmla="*/ 551964 h 2655443"/>
              <a:gd name="connsiteX185" fmla="*/ 2776220 w 4243973"/>
              <a:gd name="connsiteY185" fmla="*/ 559657 h 2655443"/>
              <a:gd name="connsiteX186" fmla="*/ 2776220 w 4243973"/>
              <a:gd name="connsiteY186" fmla="*/ 559618 h 2655443"/>
              <a:gd name="connsiteX187" fmla="*/ 2948512 w 4243973"/>
              <a:gd name="connsiteY187" fmla="*/ 598042 h 2655443"/>
              <a:gd name="connsiteX188" fmla="*/ 3167948 w 4243973"/>
              <a:gd name="connsiteY188" fmla="*/ 545382 h 2655443"/>
              <a:gd name="connsiteX189" fmla="*/ 3631020 w 4243973"/>
              <a:gd name="connsiteY189" fmla="*/ 1359573 h 2655443"/>
              <a:gd name="connsiteX190" fmla="*/ 3631020 w 4243973"/>
              <a:gd name="connsiteY190" fmla="*/ 1359535 h 2655443"/>
              <a:gd name="connsiteX191" fmla="*/ 3349009 w 4243973"/>
              <a:gd name="connsiteY191" fmla="*/ 1579011 h 2655443"/>
              <a:gd name="connsiteX192" fmla="*/ 3837253 w 4243973"/>
              <a:gd name="connsiteY192" fmla="*/ 1497810 h 2655443"/>
              <a:gd name="connsiteX193" fmla="*/ 3734119 w 4243973"/>
              <a:gd name="connsiteY193" fmla="*/ 1316759 h 2655443"/>
              <a:gd name="connsiteX194" fmla="*/ 3250228 w 4243973"/>
              <a:gd name="connsiteY194" fmla="*/ 466357 h 2655443"/>
              <a:gd name="connsiteX195" fmla="*/ 3145976 w 4243973"/>
              <a:gd name="connsiteY195" fmla="*/ 283121 h 2655443"/>
              <a:gd name="connsiteX196" fmla="*/ 3431240 w 4243973"/>
              <a:gd name="connsiteY196" fmla="*/ 116344 h 2655443"/>
              <a:gd name="connsiteX197" fmla="*/ 4122516 w 4243973"/>
              <a:gd name="connsiteY197" fmla="*/ 1334325 h 2655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</a:cxnLst>
            <a:rect l="l" t="t" r="r" b="b"/>
            <a:pathLst>
              <a:path w="4243973" h="2655443">
                <a:moveTo>
                  <a:pt x="4230050" y="1301403"/>
                </a:moveTo>
                <a:lnTo>
                  <a:pt x="3513516" y="40608"/>
                </a:lnTo>
                <a:cubicBezTo>
                  <a:pt x="3490746" y="3142"/>
                  <a:pt x="3443061" y="-10674"/>
                  <a:pt x="3403798" y="8806"/>
                </a:cubicBezTo>
                <a:lnTo>
                  <a:pt x="3074594" y="196441"/>
                </a:lnTo>
                <a:cubicBezTo>
                  <a:pt x="3033836" y="219900"/>
                  <a:pt x="3019638" y="271833"/>
                  <a:pt x="3042754" y="312742"/>
                </a:cubicBezTo>
                <a:lnTo>
                  <a:pt x="3108617" y="445504"/>
                </a:lnTo>
                <a:cubicBezTo>
                  <a:pt x="3062119" y="477459"/>
                  <a:pt x="3005443" y="491121"/>
                  <a:pt x="2949492" y="483927"/>
                </a:cubicBezTo>
                <a:cubicBezTo>
                  <a:pt x="2897483" y="476196"/>
                  <a:pt x="2846122" y="464447"/>
                  <a:pt x="2795872" y="448795"/>
                </a:cubicBezTo>
                <a:cubicBezTo>
                  <a:pt x="2554461" y="384042"/>
                  <a:pt x="2151789" y="274318"/>
                  <a:pt x="1756787" y="448795"/>
                </a:cubicBezTo>
                <a:cubicBezTo>
                  <a:pt x="1681243" y="480291"/>
                  <a:pt x="1611251" y="523613"/>
                  <a:pt x="1549402" y="577187"/>
                </a:cubicBezTo>
                <a:cubicBezTo>
                  <a:pt x="1513198" y="577187"/>
                  <a:pt x="1439683" y="564022"/>
                  <a:pt x="1363942" y="553039"/>
                </a:cubicBezTo>
                <a:cubicBezTo>
                  <a:pt x="1286024" y="521772"/>
                  <a:pt x="1215417" y="474700"/>
                  <a:pt x="1156556" y="414811"/>
                </a:cubicBezTo>
                <a:lnTo>
                  <a:pt x="1202633" y="333602"/>
                </a:lnTo>
                <a:lnTo>
                  <a:pt x="1202671" y="333602"/>
                </a:lnTo>
                <a:cubicBezTo>
                  <a:pt x="1225786" y="292652"/>
                  <a:pt x="1211588" y="240720"/>
                  <a:pt x="1170830" y="217300"/>
                </a:cubicBezTo>
                <a:lnTo>
                  <a:pt x="841627" y="29665"/>
                </a:lnTo>
                <a:cubicBezTo>
                  <a:pt x="821994" y="18414"/>
                  <a:pt x="798650" y="15658"/>
                  <a:pt x="776912" y="21973"/>
                </a:cubicBezTo>
                <a:cubicBezTo>
                  <a:pt x="754983" y="27407"/>
                  <a:pt x="736269" y="41720"/>
                  <a:pt x="725324" y="61467"/>
                </a:cubicBezTo>
                <a:lnTo>
                  <a:pt x="11014" y="1323339"/>
                </a:lnTo>
                <a:cubicBezTo>
                  <a:pt x="-237" y="1342971"/>
                  <a:pt x="-2993" y="1366354"/>
                  <a:pt x="3322" y="1388092"/>
                </a:cubicBezTo>
                <a:cubicBezTo>
                  <a:pt x="8756" y="1410021"/>
                  <a:pt x="23069" y="1428696"/>
                  <a:pt x="42816" y="1439642"/>
                </a:cubicBezTo>
                <a:lnTo>
                  <a:pt x="372020" y="1627276"/>
                </a:lnTo>
                <a:cubicBezTo>
                  <a:pt x="384687" y="1634586"/>
                  <a:pt x="399076" y="1638375"/>
                  <a:pt x="413696" y="1638260"/>
                </a:cubicBezTo>
                <a:cubicBezTo>
                  <a:pt x="421350" y="1639332"/>
                  <a:pt x="429118" y="1639332"/>
                  <a:pt x="436735" y="1638260"/>
                </a:cubicBezTo>
                <a:cubicBezTo>
                  <a:pt x="458702" y="1632826"/>
                  <a:pt x="477377" y="1618513"/>
                  <a:pt x="488322" y="1598766"/>
                </a:cubicBezTo>
                <a:lnTo>
                  <a:pt x="566240" y="1462713"/>
                </a:lnTo>
                <a:lnTo>
                  <a:pt x="566240" y="1462675"/>
                </a:lnTo>
                <a:cubicBezTo>
                  <a:pt x="630841" y="1547902"/>
                  <a:pt x="700833" y="1628922"/>
                  <a:pt x="775811" y="1705193"/>
                </a:cubicBezTo>
                <a:lnTo>
                  <a:pt x="758245" y="1730413"/>
                </a:lnTo>
                <a:cubicBezTo>
                  <a:pt x="732642" y="1767114"/>
                  <a:pt x="718865" y="1810780"/>
                  <a:pt x="718750" y="1855522"/>
                </a:cubicBezTo>
                <a:cubicBezTo>
                  <a:pt x="718827" y="1925939"/>
                  <a:pt x="752695" y="1992075"/>
                  <a:pt x="809833" y="2033292"/>
                </a:cubicBezTo>
                <a:cubicBezTo>
                  <a:pt x="846037" y="2060043"/>
                  <a:pt x="889933" y="2074279"/>
                  <a:pt x="934943" y="2073896"/>
                </a:cubicBezTo>
                <a:lnTo>
                  <a:pt x="943707" y="2073896"/>
                </a:lnTo>
                <a:cubicBezTo>
                  <a:pt x="940377" y="2095710"/>
                  <a:pt x="940377" y="2117907"/>
                  <a:pt x="943707" y="2139721"/>
                </a:cubicBezTo>
                <a:cubicBezTo>
                  <a:pt x="953771" y="2196360"/>
                  <a:pt x="985689" y="2246804"/>
                  <a:pt x="1032570" y="2280173"/>
                </a:cubicBezTo>
                <a:cubicBezTo>
                  <a:pt x="1068888" y="2306694"/>
                  <a:pt x="1112707" y="2320931"/>
                  <a:pt x="1157679" y="2320777"/>
                </a:cubicBezTo>
                <a:cubicBezTo>
                  <a:pt x="1179990" y="2320854"/>
                  <a:pt x="1202188" y="2317524"/>
                  <a:pt x="1223504" y="2310903"/>
                </a:cubicBezTo>
                <a:cubicBezTo>
                  <a:pt x="1235903" y="2374126"/>
                  <a:pt x="1275437" y="2428695"/>
                  <a:pt x="1331616" y="2460153"/>
                </a:cubicBezTo>
                <a:cubicBezTo>
                  <a:pt x="1387835" y="2491649"/>
                  <a:pt x="1455040" y="2496854"/>
                  <a:pt x="1515390" y="2474389"/>
                </a:cubicBezTo>
                <a:cubicBezTo>
                  <a:pt x="1527904" y="2525327"/>
                  <a:pt x="1558291" y="2570103"/>
                  <a:pt x="1600963" y="2600567"/>
                </a:cubicBezTo>
                <a:cubicBezTo>
                  <a:pt x="1637396" y="2626705"/>
                  <a:pt x="1681215" y="2640559"/>
                  <a:pt x="1726072" y="2640061"/>
                </a:cubicBezTo>
                <a:lnTo>
                  <a:pt x="1763386" y="2640061"/>
                </a:lnTo>
                <a:cubicBezTo>
                  <a:pt x="1820141" y="2630991"/>
                  <a:pt x="1870772" y="2599303"/>
                  <a:pt x="1903838" y="2552308"/>
                </a:cubicBezTo>
                <a:lnTo>
                  <a:pt x="1903838" y="2545726"/>
                </a:lnTo>
                <a:cubicBezTo>
                  <a:pt x="2028487" y="2611168"/>
                  <a:pt x="2165911" y="2648635"/>
                  <a:pt x="2306549" y="2655444"/>
                </a:cubicBezTo>
                <a:cubicBezTo>
                  <a:pt x="2355611" y="2654908"/>
                  <a:pt x="2404215" y="2646029"/>
                  <a:pt x="2450293" y="2629114"/>
                </a:cubicBezTo>
                <a:cubicBezTo>
                  <a:pt x="2528479" y="2605119"/>
                  <a:pt x="2594223" y="2551578"/>
                  <a:pt x="2633529" y="2479864"/>
                </a:cubicBezTo>
                <a:lnTo>
                  <a:pt x="2669732" y="2479864"/>
                </a:lnTo>
                <a:cubicBezTo>
                  <a:pt x="2731194" y="2480285"/>
                  <a:pt x="2791276" y="2461878"/>
                  <a:pt x="2842025" y="2427205"/>
                </a:cubicBezTo>
                <a:cubicBezTo>
                  <a:pt x="2900731" y="2385184"/>
                  <a:pt x="2942102" y="2323110"/>
                  <a:pt x="2958327" y="2252727"/>
                </a:cubicBezTo>
                <a:cubicBezTo>
                  <a:pt x="3026830" y="2245494"/>
                  <a:pt x="3090167" y="2213003"/>
                  <a:pt x="3136096" y="2161644"/>
                </a:cubicBezTo>
                <a:cubicBezTo>
                  <a:pt x="3170386" y="2122801"/>
                  <a:pt x="3196180" y="2077220"/>
                  <a:pt x="3211794" y="2027776"/>
                </a:cubicBezTo>
                <a:cubicBezTo>
                  <a:pt x="3297864" y="2020084"/>
                  <a:pt x="3377082" y="1977680"/>
                  <a:pt x="3431231" y="1910406"/>
                </a:cubicBezTo>
                <a:cubicBezTo>
                  <a:pt x="3465673" y="1857556"/>
                  <a:pt x="3477155" y="1792997"/>
                  <a:pt x="3463071" y="1731530"/>
                </a:cubicBezTo>
                <a:cubicBezTo>
                  <a:pt x="3457484" y="1706348"/>
                  <a:pt x="3447878" y="1682277"/>
                  <a:pt x="3434522" y="1660195"/>
                </a:cubicBezTo>
                <a:cubicBezTo>
                  <a:pt x="3534678" y="1612817"/>
                  <a:pt x="3623117" y="1543854"/>
                  <a:pt x="3693499" y="1458325"/>
                </a:cubicBezTo>
                <a:lnTo>
                  <a:pt x="3757142" y="1568043"/>
                </a:lnTo>
                <a:cubicBezTo>
                  <a:pt x="3768355" y="1587790"/>
                  <a:pt x="3786879" y="1602371"/>
                  <a:pt x="3808730" y="1608647"/>
                </a:cubicBezTo>
                <a:cubicBezTo>
                  <a:pt x="3816346" y="1609719"/>
                  <a:pt x="3824115" y="1609719"/>
                  <a:pt x="3831769" y="1608647"/>
                </a:cubicBezTo>
                <a:cubicBezTo>
                  <a:pt x="3846312" y="1608265"/>
                  <a:pt x="3860586" y="1604476"/>
                  <a:pt x="3873445" y="1597664"/>
                </a:cubicBezTo>
                <a:lnTo>
                  <a:pt x="4202649" y="1410029"/>
                </a:lnTo>
                <a:cubicBezTo>
                  <a:pt x="4222396" y="1398816"/>
                  <a:pt x="4236977" y="1380293"/>
                  <a:pt x="4243253" y="1358479"/>
                </a:cubicBezTo>
                <a:cubicBezTo>
                  <a:pt x="4245894" y="1338464"/>
                  <a:pt x="4241225" y="1318219"/>
                  <a:pt x="4230088" y="1301419"/>
                </a:cubicBezTo>
                <a:close/>
                <a:moveTo>
                  <a:pt x="514679" y="1323331"/>
                </a:moveTo>
                <a:lnTo>
                  <a:pt x="404961" y="1508792"/>
                </a:lnTo>
                <a:lnTo>
                  <a:pt x="118590" y="1354065"/>
                </a:lnTo>
                <a:lnTo>
                  <a:pt x="812081" y="137162"/>
                </a:lnTo>
                <a:lnTo>
                  <a:pt x="1098452" y="300657"/>
                </a:lnTo>
                <a:close/>
                <a:moveTo>
                  <a:pt x="1023827" y="1913688"/>
                </a:moveTo>
                <a:cubicBezTo>
                  <a:pt x="988542" y="1959497"/>
                  <a:pt x="923710" y="1970059"/>
                  <a:pt x="875684" y="1937797"/>
                </a:cubicBezTo>
                <a:cubicBezTo>
                  <a:pt x="828842" y="1902742"/>
                  <a:pt x="817743" y="1837112"/>
                  <a:pt x="850465" y="1788587"/>
                </a:cubicBezTo>
                <a:lnTo>
                  <a:pt x="889959" y="1731526"/>
                </a:lnTo>
                <a:lnTo>
                  <a:pt x="940437" y="1661301"/>
                </a:lnTo>
                <a:cubicBezTo>
                  <a:pt x="975568" y="1613769"/>
                  <a:pt x="1042043" y="1602633"/>
                  <a:pt x="1090764" y="1636081"/>
                </a:cubicBezTo>
                <a:cubicBezTo>
                  <a:pt x="1133397" y="1667309"/>
                  <a:pt x="1147672" y="1724484"/>
                  <a:pt x="1124786" y="1772134"/>
                </a:cubicBezTo>
                <a:close/>
                <a:moveTo>
                  <a:pt x="1260830" y="2140825"/>
                </a:moveTo>
                <a:lnTo>
                  <a:pt x="1246555" y="2160572"/>
                </a:lnTo>
                <a:cubicBezTo>
                  <a:pt x="1233275" y="2190882"/>
                  <a:pt x="1207022" y="2213576"/>
                  <a:pt x="1175105" y="2222340"/>
                </a:cubicBezTo>
                <a:cubicBezTo>
                  <a:pt x="1143188" y="2231104"/>
                  <a:pt x="1109012" y="2224980"/>
                  <a:pt x="1082146" y="2205693"/>
                </a:cubicBezTo>
                <a:cubicBezTo>
                  <a:pt x="1055243" y="2186404"/>
                  <a:pt x="1038481" y="2156018"/>
                  <a:pt x="1036529" y="2122991"/>
                </a:cubicBezTo>
                <a:cubicBezTo>
                  <a:pt x="1034577" y="2089926"/>
                  <a:pt x="1047665" y="2057779"/>
                  <a:pt x="1072120" y="2035467"/>
                </a:cubicBezTo>
                <a:lnTo>
                  <a:pt x="1111614" y="1981697"/>
                </a:lnTo>
                <a:lnTo>
                  <a:pt x="1201587" y="1855520"/>
                </a:lnTo>
                <a:lnTo>
                  <a:pt x="1320113" y="1688744"/>
                </a:lnTo>
                <a:lnTo>
                  <a:pt x="1320075" y="1688744"/>
                </a:lnTo>
                <a:cubicBezTo>
                  <a:pt x="1335306" y="1663791"/>
                  <a:pt x="1359837" y="1645919"/>
                  <a:pt x="1388272" y="1639107"/>
                </a:cubicBezTo>
                <a:cubicBezTo>
                  <a:pt x="1416706" y="1632333"/>
                  <a:pt x="1446672" y="1637155"/>
                  <a:pt x="1471509" y="1652540"/>
                </a:cubicBezTo>
                <a:cubicBezTo>
                  <a:pt x="1495313" y="1668766"/>
                  <a:pt x="1511234" y="1694254"/>
                  <a:pt x="1515405" y="1722766"/>
                </a:cubicBezTo>
                <a:cubicBezTo>
                  <a:pt x="1519806" y="1750856"/>
                  <a:pt x="1513109" y="1779597"/>
                  <a:pt x="1496768" y="1802866"/>
                </a:cubicBezTo>
                <a:lnTo>
                  <a:pt x="1457274" y="1858816"/>
                </a:lnTo>
                <a:close/>
                <a:moveTo>
                  <a:pt x="1551609" y="2292259"/>
                </a:moveTo>
                <a:lnTo>
                  <a:pt x="1525279" y="2328462"/>
                </a:lnTo>
                <a:cubicBezTo>
                  <a:pt x="1511808" y="2358888"/>
                  <a:pt x="1485211" y="2381582"/>
                  <a:pt x="1453025" y="2390078"/>
                </a:cubicBezTo>
                <a:cubicBezTo>
                  <a:pt x="1420839" y="2398612"/>
                  <a:pt x="1386511" y="2392068"/>
                  <a:pt x="1359761" y="2372282"/>
                </a:cubicBezTo>
                <a:cubicBezTo>
                  <a:pt x="1332972" y="2352497"/>
                  <a:pt x="1316631" y="2321612"/>
                  <a:pt x="1315329" y="2288318"/>
                </a:cubicBezTo>
                <a:cubicBezTo>
                  <a:pt x="1313990" y="2255061"/>
                  <a:pt x="1327881" y="2222990"/>
                  <a:pt x="1353026" y="2201177"/>
                </a:cubicBezTo>
                <a:lnTo>
                  <a:pt x="1549429" y="1924672"/>
                </a:lnTo>
                <a:lnTo>
                  <a:pt x="1549429" y="1924634"/>
                </a:lnTo>
                <a:cubicBezTo>
                  <a:pt x="1576792" y="1893444"/>
                  <a:pt x="1619386" y="1880318"/>
                  <a:pt x="1659569" y="1890765"/>
                </a:cubicBezTo>
                <a:cubicBezTo>
                  <a:pt x="1699752" y="1901213"/>
                  <a:pt x="1730560" y="1933437"/>
                  <a:pt x="1739247" y="1974003"/>
                </a:cubicBezTo>
                <a:cubicBezTo>
                  <a:pt x="1744834" y="2002170"/>
                  <a:pt x="1738022" y="2031332"/>
                  <a:pt x="1720610" y="2054141"/>
                </a:cubicBezTo>
                <a:lnTo>
                  <a:pt x="1654784" y="2147405"/>
                </a:lnTo>
                <a:close/>
                <a:moveTo>
                  <a:pt x="1920305" y="2335045"/>
                </a:moveTo>
                <a:lnTo>
                  <a:pt x="1851189" y="2430491"/>
                </a:lnTo>
                <a:lnTo>
                  <a:pt x="1842425" y="2443656"/>
                </a:lnTo>
                <a:lnTo>
                  <a:pt x="1814985" y="2480970"/>
                </a:lnTo>
                <a:cubicBezTo>
                  <a:pt x="1779509" y="2517442"/>
                  <a:pt x="1723596" y="2524751"/>
                  <a:pt x="1679932" y="2498613"/>
                </a:cubicBezTo>
                <a:cubicBezTo>
                  <a:pt x="1636266" y="2472474"/>
                  <a:pt x="1616288" y="2419738"/>
                  <a:pt x="1631711" y="2371250"/>
                </a:cubicBezTo>
                <a:lnTo>
                  <a:pt x="1640475" y="2356975"/>
                </a:lnTo>
                <a:lnTo>
                  <a:pt x="1744726" y="2211047"/>
                </a:lnTo>
                <a:lnTo>
                  <a:pt x="1744765" y="2211047"/>
                </a:lnTo>
                <a:cubicBezTo>
                  <a:pt x="1780356" y="2165544"/>
                  <a:pt x="1845146" y="2155478"/>
                  <a:pt x="1892868" y="2188008"/>
                </a:cubicBezTo>
                <a:cubicBezTo>
                  <a:pt x="1940400" y="2223139"/>
                  <a:pt x="1951574" y="2289575"/>
                  <a:pt x="1918126" y="2338335"/>
                </a:cubicBezTo>
                <a:close/>
                <a:moveTo>
                  <a:pt x="3335796" y="1852232"/>
                </a:moveTo>
                <a:cubicBezTo>
                  <a:pt x="3293891" y="1895554"/>
                  <a:pt x="3236904" y="1921080"/>
                  <a:pt x="3176671" y="1923567"/>
                </a:cubicBezTo>
                <a:lnTo>
                  <a:pt x="2528188" y="1517564"/>
                </a:lnTo>
                <a:cubicBezTo>
                  <a:pt x="2502738" y="1501260"/>
                  <a:pt x="2468869" y="1508609"/>
                  <a:pt x="2452490" y="1534020"/>
                </a:cubicBezTo>
                <a:cubicBezTo>
                  <a:pt x="2444453" y="1546305"/>
                  <a:pt x="2441773" y="1561345"/>
                  <a:pt x="2445103" y="1575620"/>
                </a:cubicBezTo>
                <a:cubicBezTo>
                  <a:pt x="2448395" y="1589932"/>
                  <a:pt x="2457426" y="1602256"/>
                  <a:pt x="2470056" y="1609719"/>
                </a:cubicBezTo>
                <a:lnTo>
                  <a:pt x="3102089" y="2006924"/>
                </a:lnTo>
                <a:lnTo>
                  <a:pt x="3102089" y="2006963"/>
                </a:lnTo>
                <a:cubicBezTo>
                  <a:pt x="3090838" y="2038650"/>
                  <a:pt x="3073272" y="2067773"/>
                  <a:pt x="3050501" y="2092535"/>
                </a:cubicBezTo>
                <a:cubicBezTo>
                  <a:pt x="3017091" y="2127858"/>
                  <a:pt x="2970746" y="2148065"/>
                  <a:pt x="2922139" y="2148485"/>
                </a:cubicBezTo>
                <a:lnTo>
                  <a:pt x="2349349" y="1828089"/>
                </a:lnTo>
                <a:cubicBezTo>
                  <a:pt x="2322674" y="1813241"/>
                  <a:pt x="2289036" y="1822808"/>
                  <a:pt x="2274186" y="1849482"/>
                </a:cubicBezTo>
                <a:cubicBezTo>
                  <a:pt x="2259337" y="1876157"/>
                  <a:pt x="2268905" y="1909795"/>
                  <a:pt x="2295580" y="1924645"/>
                </a:cubicBezTo>
                <a:lnTo>
                  <a:pt x="2844220" y="2230766"/>
                </a:lnTo>
                <a:lnTo>
                  <a:pt x="2844220" y="2230805"/>
                </a:lnTo>
                <a:cubicBezTo>
                  <a:pt x="2834690" y="2275159"/>
                  <a:pt x="2808819" y="2314310"/>
                  <a:pt x="2771775" y="2340523"/>
                </a:cubicBezTo>
                <a:cubicBezTo>
                  <a:pt x="2724205" y="2371790"/>
                  <a:pt x="2665573" y="2381357"/>
                  <a:pt x="2610503" y="2366853"/>
                </a:cubicBezTo>
                <a:lnTo>
                  <a:pt x="2603921" y="2366853"/>
                </a:lnTo>
                <a:cubicBezTo>
                  <a:pt x="2600515" y="2363600"/>
                  <a:pt x="2596841" y="2360653"/>
                  <a:pt x="2592938" y="2358089"/>
                </a:cubicBezTo>
                <a:lnTo>
                  <a:pt x="2154016" y="2138652"/>
                </a:lnTo>
                <a:lnTo>
                  <a:pt x="2154016" y="2138614"/>
                </a:lnTo>
                <a:cubicBezTo>
                  <a:pt x="2127495" y="2127593"/>
                  <a:pt x="2096955" y="2138882"/>
                  <a:pt x="2083982" y="2164523"/>
                </a:cubicBezTo>
                <a:cubicBezTo>
                  <a:pt x="2071008" y="2190164"/>
                  <a:pt x="2080040" y="2221469"/>
                  <a:pt x="2104648" y="2236279"/>
                </a:cubicBezTo>
                <a:lnTo>
                  <a:pt x="2524896" y="2448064"/>
                </a:lnTo>
                <a:cubicBezTo>
                  <a:pt x="2498528" y="2486947"/>
                  <a:pt x="2459914" y="2515917"/>
                  <a:pt x="2415178" y="2530344"/>
                </a:cubicBezTo>
                <a:cubicBezTo>
                  <a:pt x="2264283" y="2557631"/>
                  <a:pt x="2108557" y="2530000"/>
                  <a:pt x="1976256" y="2452426"/>
                </a:cubicBezTo>
                <a:lnTo>
                  <a:pt x="2011388" y="2398695"/>
                </a:lnTo>
                <a:cubicBezTo>
                  <a:pt x="2044683" y="2351546"/>
                  <a:pt x="2058077" y="2293219"/>
                  <a:pt x="2048701" y="2236278"/>
                </a:cubicBezTo>
                <a:cubicBezTo>
                  <a:pt x="2039861" y="2187714"/>
                  <a:pt x="2014947" y="2143511"/>
                  <a:pt x="1977901" y="2110865"/>
                </a:cubicBezTo>
                <a:cubicBezTo>
                  <a:pt x="1940856" y="2078183"/>
                  <a:pt x="1893899" y="2058970"/>
                  <a:pt x="1844611" y="2056330"/>
                </a:cubicBezTo>
                <a:cubicBezTo>
                  <a:pt x="1854485" y="2023265"/>
                  <a:pt x="1856743" y="1988362"/>
                  <a:pt x="1851194" y="1954263"/>
                </a:cubicBezTo>
                <a:cubicBezTo>
                  <a:pt x="1841397" y="1897777"/>
                  <a:pt x="1809901" y="1847377"/>
                  <a:pt x="1763402" y="1813812"/>
                </a:cubicBezTo>
                <a:cubicBezTo>
                  <a:pt x="1723793" y="1785607"/>
                  <a:pt x="1675955" y="1771294"/>
                  <a:pt x="1627350" y="1773245"/>
                </a:cubicBezTo>
                <a:cubicBezTo>
                  <a:pt x="1630603" y="1752121"/>
                  <a:pt x="1630603" y="1730689"/>
                  <a:pt x="1627350" y="1709602"/>
                </a:cubicBezTo>
                <a:cubicBezTo>
                  <a:pt x="1616673" y="1653421"/>
                  <a:pt x="1584525" y="1603676"/>
                  <a:pt x="1537721" y="1570835"/>
                </a:cubicBezTo>
                <a:cubicBezTo>
                  <a:pt x="1490956" y="1538038"/>
                  <a:pt x="1433205" y="1524759"/>
                  <a:pt x="1376754" y="1533867"/>
                </a:cubicBezTo>
                <a:cubicBezTo>
                  <a:pt x="1320344" y="1542975"/>
                  <a:pt x="1269711" y="1573744"/>
                  <a:pt x="1235617" y="1619592"/>
                </a:cubicBezTo>
                <a:lnTo>
                  <a:pt x="1225743" y="1632757"/>
                </a:lnTo>
                <a:lnTo>
                  <a:pt x="1225743" y="1632796"/>
                </a:lnTo>
                <a:cubicBezTo>
                  <a:pt x="1210664" y="1598620"/>
                  <a:pt x="1186364" y="1569344"/>
                  <a:pt x="1155517" y="1548295"/>
                </a:cubicBezTo>
                <a:cubicBezTo>
                  <a:pt x="1108445" y="1515421"/>
                  <a:pt x="1050394" y="1502295"/>
                  <a:pt x="993786" y="1511747"/>
                </a:cubicBezTo>
                <a:cubicBezTo>
                  <a:pt x="937185" y="1521200"/>
                  <a:pt x="886517" y="1552428"/>
                  <a:pt x="852648" y="1598773"/>
                </a:cubicBezTo>
                <a:lnTo>
                  <a:pt x="843884" y="1609757"/>
                </a:lnTo>
                <a:lnTo>
                  <a:pt x="843884" y="1609718"/>
                </a:lnTo>
                <a:cubicBezTo>
                  <a:pt x="765240" y="1528968"/>
                  <a:pt x="691950" y="1443206"/>
                  <a:pt x="624409" y="1352965"/>
                </a:cubicBezTo>
                <a:lnTo>
                  <a:pt x="1102823" y="512438"/>
                </a:lnTo>
                <a:cubicBezTo>
                  <a:pt x="1173087" y="582243"/>
                  <a:pt x="1258813" y="634521"/>
                  <a:pt x="1353032" y="664980"/>
                </a:cubicBezTo>
                <a:lnTo>
                  <a:pt x="1462750" y="680326"/>
                </a:lnTo>
                <a:cubicBezTo>
                  <a:pt x="1405537" y="754150"/>
                  <a:pt x="1365124" y="839491"/>
                  <a:pt x="1344224" y="930496"/>
                </a:cubicBezTo>
                <a:cubicBezTo>
                  <a:pt x="1324401" y="1013007"/>
                  <a:pt x="1348932" y="1099879"/>
                  <a:pt x="1408978" y="1159847"/>
                </a:cubicBezTo>
                <a:cubicBezTo>
                  <a:pt x="1466191" y="1217673"/>
                  <a:pt x="1548852" y="1242472"/>
                  <a:pt x="1628414" y="1225672"/>
                </a:cubicBezTo>
                <a:cubicBezTo>
                  <a:pt x="1712073" y="1208718"/>
                  <a:pt x="1787275" y="1163368"/>
                  <a:pt x="1841306" y="1097310"/>
                </a:cubicBezTo>
                <a:lnTo>
                  <a:pt x="1951024" y="951382"/>
                </a:lnTo>
                <a:lnTo>
                  <a:pt x="2105751" y="910777"/>
                </a:lnTo>
                <a:lnTo>
                  <a:pt x="2105751" y="910739"/>
                </a:lnTo>
                <a:cubicBezTo>
                  <a:pt x="2538245" y="1104272"/>
                  <a:pt x="2938351" y="1363357"/>
                  <a:pt x="3291891" y="1678855"/>
                </a:cubicBezTo>
                <a:lnTo>
                  <a:pt x="3298473" y="1678855"/>
                </a:lnTo>
                <a:cubicBezTo>
                  <a:pt x="3301650" y="1682644"/>
                  <a:pt x="3305362" y="1685935"/>
                  <a:pt x="3309457" y="1688729"/>
                </a:cubicBezTo>
                <a:cubicBezTo>
                  <a:pt x="3331806" y="1705185"/>
                  <a:pt x="3347076" y="1729486"/>
                  <a:pt x="3352243" y="1756734"/>
                </a:cubicBezTo>
                <a:cubicBezTo>
                  <a:pt x="3359935" y="1789494"/>
                  <a:pt x="3354003" y="1823937"/>
                  <a:pt x="3335787" y="1852218"/>
                </a:cubicBezTo>
                <a:close/>
                <a:moveTo>
                  <a:pt x="3350071" y="1579019"/>
                </a:moveTo>
                <a:cubicBezTo>
                  <a:pt x="2988497" y="1257516"/>
                  <a:pt x="2578585" y="994982"/>
                  <a:pt x="2135421" y="801028"/>
                </a:cubicBezTo>
                <a:cubicBezTo>
                  <a:pt x="2125279" y="798847"/>
                  <a:pt x="2114793" y="798847"/>
                  <a:pt x="2104690" y="801028"/>
                </a:cubicBezTo>
                <a:cubicBezTo>
                  <a:pt x="2097418" y="799995"/>
                  <a:pt x="2090032" y="799995"/>
                  <a:pt x="2082723" y="801028"/>
                </a:cubicBezTo>
                <a:lnTo>
                  <a:pt x="1912654" y="846034"/>
                </a:lnTo>
                <a:cubicBezTo>
                  <a:pt x="1894475" y="851239"/>
                  <a:pt x="1878364" y="861955"/>
                  <a:pt x="1866577" y="876727"/>
                </a:cubicBezTo>
                <a:lnTo>
                  <a:pt x="1756859" y="1028161"/>
                </a:lnTo>
                <a:cubicBezTo>
                  <a:pt x="1718130" y="1074047"/>
                  <a:pt x="1665240" y="1105697"/>
                  <a:pt x="1606532" y="1118134"/>
                </a:cubicBezTo>
                <a:cubicBezTo>
                  <a:pt x="1562750" y="1127357"/>
                  <a:pt x="1517285" y="1113733"/>
                  <a:pt x="1485831" y="1081931"/>
                </a:cubicBezTo>
                <a:cubicBezTo>
                  <a:pt x="1452536" y="1048177"/>
                  <a:pt x="1438873" y="999727"/>
                  <a:pt x="1449627" y="953569"/>
                </a:cubicBezTo>
                <a:cubicBezTo>
                  <a:pt x="1473853" y="847103"/>
                  <a:pt x="1530607" y="750856"/>
                  <a:pt x="1612005" y="678142"/>
                </a:cubicBezTo>
                <a:cubicBezTo>
                  <a:pt x="1671018" y="625711"/>
                  <a:pt x="1738104" y="583117"/>
                  <a:pt x="1810623" y="551964"/>
                </a:cubicBezTo>
                <a:cubicBezTo>
                  <a:pt x="2168336" y="395053"/>
                  <a:pt x="2549082" y="498194"/>
                  <a:pt x="2776220" y="559657"/>
                </a:cubicBezTo>
                <a:lnTo>
                  <a:pt x="2776220" y="559618"/>
                </a:lnTo>
                <a:cubicBezTo>
                  <a:pt x="2832477" y="577185"/>
                  <a:pt x="2890111" y="590043"/>
                  <a:pt x="2948512" y="598042"/>
                </a:cubicBezTo>
                <a:cubicBezTo>
                  <a:pt x="3025550" y="606232"/>
                  <a:pt x="3103042" y="587632"/>
                  <a:pt x="3167948" y="545382"/>
                </a:cubicBezTo>
                <a:lnTo>
                  <a:pt x="3631020" y="1359573"/>
                </a:lnTo>
                <a:lnTo>
                  <a:pt x="3631020" y="1359535"/>
                </a:lnTo>
                <a:cubicBezTo>
                  <a:pt x="3559876" y="1458114"/>
                  <a:pt x="3462020" y="1534277"/>
                  <a:pt x="3349009" y="1579011"/>
                </a:cubicBezTo>
                <a:close/>
                <a:moveTo>
                  <a:pt x="3837253" y="1497810"/>
                </a:moveTo>
                <a:lnTo>
                  <a:pt x="3734119" y="1316759"/>
                </a:lnTo>
                <a:lnTo>
                  <a:pt x="3250228" y="466357"/>
                </a:lnTo>
                <a:lnTo>
                  <a:pt x="3145976" y="283121"/>
                </a:lnTo>
                <a:lnTo>
                  <a:pt x="3431240" y="116344"/>
                </a:lnTo>
                <a:lnTo>
                  <a:pt x="4122516" y="1334325"/>
                </a:lnTo>
                <a:close/>
              </a:path>
            </a:pathLst>
          </a:custGeom>
          <a:solidFill>
            <a:schemeClr val="accent1"/>
          </a:solidFill>
          <a:ln w="9797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422E96BE-D5E0-9A43-CE1A-FC5AE4927CCA}"/>
              </a:ext>
            </a:extLst>
          </p:cNvPr>
          <p:cNvGrpSpPr>
            <a:grpSpLocks noChangeAspect="1"/>
          </p:cNvGrpSpPr>
          <p:nvPr/>
        </p:nvGrpSpPr>
        <p:grpSpPr>
          <a:xfrm>
            <a:off x="1901523" y="5074019"/>
            <a:ext cx="536878" cy="727318"/>
            <a:chOff x="16827563" y="-1263306"/>
            <a:chExt cx="3621023" cy="4905465"/>
          </a:xfrm>
          <a:solidFill>
            <a:schemeClr val="accent1"/>
          </a:solidFill>
        </p:grpSpPr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CAFAC4E7-0F9E-7E00-9F44-6C6010A08F44}"/>
                </a:ext>
              </a:extLst>
            </p:cNvPr>
            <p:cNvSpPr/>
            <p:nvPr/>
          </p:nvSpPr>
          <p:spPr>
            <a:xfrm>
              <a:off x="17485978" y="76024"/>
              <a:ext cx="2304229" cy="2861770"/>
            </a:xfrm>
            <a:custGeom>
              <a:avLst/>
              <a:gdLst>
                <a:gd name="connsiteX0" fmla="*/ 2084815 w 2304229"/>
                <a:gd name="connsiteY0" fmla="*/ 493762 h 2861770"/>
                <a:gd name="connsiteX1" fmla="*/ 1813630 w 2304229"/>
                <a:gd name="connsiteY1" fmla="*/ 220970 h 2861770"/>
                <a:gd name="connsiteX2" fmla="*/ 1042408 w 2304229"/>
                <a:gd name="connsiteY2" fmla="*/ 219554 h 2861770"/>
                <a:gd name="connsiteX3" fmla="*/ 1042408 w 2304229"/>
                <a:gd name="connsiteY3" fmla="*/ 0 h 2861770"/>
                <a:gd name="connsiteX4" fmla="*/ 493768 w 2304229"/>
                <a:gd name="connsiteY4" fmla="*/ 0 h 2861770"/>
                <a:gd name="connsiteX5" fmla="*/ 493768 w 2304229"/>
                <a:gd name="connsiteY5" fmla="*/ 548640 h 2861770"/>
                <a:gd name="connsiteX6" fmla="*/ 1042408 w 2304229"/>
                <a:gd name="connsiteY6" fmla="*/ 548640 h 2861770"/>
                <a:gd name="connsiteX7" fmla="*/ 1042408 w 2304229"/>
                <a:gd name="connsiteY7" fmla="*/ 329204 h 2861770"/>
                <a:gd name="connsiteX8" fmla="*/ 1810485 w 2304229"/>
                <a:gd name="connsiteY8" fmla="*/ 329204 h 2861770"/>
                <a:gd name="connsiteX9" fmla="*/ 1976840 w 2304229"/>
                <a:gd name="connsiteY9" fmla="*/ 490817 h 2861770"/>
                <a:gd name="connsiteX10" fmla="*/ 1977338 w 2304229"/>
                <a:gd name="connsiteY10" fmla="*/ 603524 h 2861770"/>
                <a:gd name="connsiteX11" fmla="*/ 1755638 w 2304229"/>
                <a:gd name="connsiteY11" fmla="*/ 603524 h 2861770"/>
                <a:gd name="connsiteX12" fmla="*/ 1755638 w 2304229"/>
                <a:gd name="connsiteY12" fmla="*/ 1152164 h 2861770"/>
                <a:gd name="connsiteX13" fmla="*/ 1975075 w 2304229"/>
                <a:gd name="connsiteY13" fmla="*/ 1152164 h 2861770"/>
                <a:gd name="connsiteX14" fmla="*/ 1975075 w 2304229"/>
                <a:gd name="connsiteY14" fmla="*/ 1261882 h 2861770"/>
                <a:gd name="connsiteX15" fmla="*/ 1865356 w 2304229"/>
                <a:gd name="connsiteY15" fmla="*/ 1371600 h 2861770"/>
                <a:gd name="connsiteX16" fmla="*/ 1042396 w 2304229"/>
                <a:gd name="connsiteY16" fmla="*/ 1371600 h 2861770"/>
                <a:gd name="connsiteX17" fmla="*/ 1042396 w 2304229"/>
                <a:gd name="connsiteY17" fmla="*/ 1152164 h 2861770"/>
                <a:gd name="connsiteX18" fmla="*/ 493756 w 2304229"/>
                <a:gd name="connsiteY18" fmla="*/ 1152164 h 2861770"/>
                <a:gd name="connsiteX19" fmla="*/ 493756 w 2304229"/>
                <a:gd name="connsiteY19" fmla="*/ 1370189 h 2861770"/>
                <a:gd name="connsiteX20" fmla="*/ 326362 w 2304229"/>
                <a:gd name="connsiteY20" fmla="*/ 1370189 h 2861770"/>
                <a:gd name="connsiteX21" fmla="*/ 0 w 2304229"/>
                <a:gd name="connsiteY21" fmla="*/ 1700804 h 2861770"/>
                <a:gd name="connsiteX22" fmla="*/ 0 w 2304229"/>
                <a:gd name="connsiteY22" fmla="*/ 2249444 h 2861770"/>
                <a:gd name="connsiteX23" fmla="*/ 326362 w 2304229"/>
                <a:gd name="connsiteY23" fmla="*/ 2577266 h 2861770"/>
                <a:gd name="connsiteX24" fmla="*/ 853076 w 2304229"/>
                <a:gd name="connsiteY24" fmla="*/ 2577266 h 2861770"/>
                <a:gd name="connsiteX25" fmla="*/ 646915 w 2304229"/>
                <a:gd name="connsiteY25" fmla="*/ 2784427 h 2861770"/>
                <a:gd name="connsiteX26" fmla="*/ 724718 w 2304229"/>
                <a:gd name="connsiteY26" fmla="*/ 2861770 h 2861770"/>
                <a:gd name="connsiteX27" fmla="*/ 1062416 w 2304229"/>
                <a:gd name="connsiteY27" fmla="*/ 2522319 h 2861770"/>
                <a:gd name="connsiteX28" fmla="*/ 724718 w 2304229"/>
                <a:gd name="connsiteY28" fmla="*/ 2182828 h 2861770"/>
                <a:gd name="connsiteX29" fmla="*/ 646915 w 2304229"/>
                <a:gd name="connsiteY29" fmla="*/ 2260172 h 2861770"/>
                <a:gd name="connsiteX30" fmla="*/ 852655 w 2304229"/>
                <a:gd name="connsiteY30" fmla="*/ 2468821 h 2861770"/>
                <a:gd name="connsiteX31" fmla="*/ 329155 w 2304229"/>
                <a:gd name="connsiteY31" fmla="*/ 2468859 h 2861770"/>
                <a:gd name="connsiteX32" fmla="*/ 108258 w 2304229"/>
                <a:gd name="connsiteY32" fmla="*/ 2248042 h 2861770"/>
                <a:gd name="connsiteX33" fmla="*/ 108258 w 2304229"/>
                <a:gd name="connsiteY33" fmla="*/ 1699362 h 2861770"/>
                <a:gd name="connsiteX34" fmla="*/ 326402 w 2304229"/>
                <a:gd name="connsiteY34" fmla="*/ 1479926 h 2861770"/>
                <a:gd name="connsiteX35" fmla="*/ 493756 w 2304229"/>
                <a:gd name="connsiteY35" fmla="*/ 1479926 h 2861770"/>
                <a:gd name="connsiteX36" fmla="*/ 493756 w 2304229"/>
                <a:gd name="connsiteY36" fmla="*/ 1700822 h 2861770"/>
                <a:gd name="connsiteX37" fmla="*/ 1042396 w 2304229"/>
                <a:gd name="connsiteY37" fmla="*/ 1700822 h 2861770"/>
                <a:gd name="connsiteX38" fmla="*/ 1042396 w 2304229"/>
                <a:gd name="connsiteY38" fmla="*/ 1481386 h 2861770"/>
                <a:gd name="connsiteX39" fmla="*/ 1865356 w 2304229"/>
                <a:gd name="connsiteY39" fmla="*/ 1481386 h 2861770"/>
                <a:gd name="connsiteX40" fmla="*/ 2084793 w 2304229"/>
                <a:gd name="connsiteY40" fmla="*/ 1261949 h 2861770"/>
                <a:gd name="connsiteX41" fmla="*/ 2084793 w 2304229"/>
                <a:gd name="connsiteY41" fmla="*/ 1152231 h 2861770"/>
                <a:gd name="connsiteX42" fmla="*/ 2304229 w 2304229"/>
                <a:gd name="connsiteY42" fmla="*/ 1152231 h 2861770"/>
                <a:gd name="connsiteX43" fmla="*/ 2304229 w 2304229"/>
                <a:gd name="connsiteY43" fmla="*/ 603591 h 2861770"/>
                <a:gd name="connsiteX44" fmla="*/ 2084793 w 2304229"/>
                <a:gd name="connsiteY44" fmla="*/ 603591 h 2861770"/>
                <a:gd name="connsiteX45" fmla="*/ 932671 w 2304229"/>
                <a:gd name="connsiteY45" fmla="*/ 438920 h 2861770"/>
                <a:gd name="connsiteX46" fmla="*/ 603467 w 2304229"/>
                <a:gd name="connsiteY46" fmla="*/ 438920 h 2861770"/>
                <a:gd name="connsiteX47" fmla="*/ 603467 w 2304229"/>
                <a:gd name="connsiteY47" fmla="*/ 109716 h 2861770"/>
                <a:gd name="connsiteX48" fmla="*/ 932671 w 2304229"/>
                <a:gd name="connsiteY48" fmla="*/ 109716 h 2861770"/>
                <a:gd name="connsiteX49" fmla="*/ 932671 w 2304229"/>
                <a:gd name="connsiteY49" fmla="*/ 1591064 h 2861770"/>
                <a:gd name="connsiteX50" fmla="*/ 603467 w 2304229"/>
                <a:gd name="connsiteY50" fmla="*/ 1591064 h 2861770"/>
                <a:gd name="connsiteX51" fmla="*/ 603467 w 2304229"/>
                <a:gd name="connsiteY51" fmla="*/ 1261861 h 2861770"/>
                <a:gd name="connsiteX52" fmla="*/ 932671 w 2304229"/>
                <a:gd name="connsiteY52" fmla="*/ 1261861 h 2861770"/>
                <a:gd name="connsiteX53" fmla="*/ 2194543 w 2304229"/>
                <a:gd name="connsiteY53" fmla="*/ 1042424 h 2861770"/>
                <a:gd name="connsiteX54" fmla="*/ 1865339 w 2304229"/>
                <a:gd name="connsiteY54" fmla="*/ 1042424 h 2861770"/>
                <a:gd name="connsiteX55" fmla="*/ 1865339 w 2304229"/>
                <a:gd name="connsiteY55" fmla="*/ 713221 h 2861770"/>
                <a:gd name="connsiteX56" fmla="*/ 2194543 w 2304229"/>
                <a:gd name="connsiteY56" fmla="*/ 713221 h 2861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2304229" h="2861770">
                  <a:moveTo>
                    <a:pt x="2084815" y="493762"/>
                  </a:moveTo>
                  <a:cubicBezTo>
                    <a:pt x="2080758" y="344159"/>
                    <a:pt x="1962546" y="220970"/>
                    <a:pt x="1813630" y="220970"/>
                  </a:cubicBezTo>
                  <a:lnTo>
                    <a:pt x="1042408" y="219554"/>
                  </a:lnTo>
                  <a:lnTo>
                    <a:pt x="1042408" y="0"/>
                  </a:lnTo>
                  <a:lnTo>
                    <a:pt x="493768" y="0"/>
                  </a:lnTo>
                  <a:lnTo>
                    <a:pt x="493768" y="548640"/>
                  </a:lnTo>
                  <a:lnTo>
                    <a:pt x="1042408" y="548640"/>
                  </a:lnTo>
                  <a:lnTo>
                    <a:pt x="1042408" y="329204"/>
                  </a:lnTo>
                  <a:lnTo>
                    <a:pt x="1810485" y="329204"/>
                  </a:lnTo>
                  <a:cubicBezTo>
                    <a:pt x="1899693" y="329204"/>
                    <a:pt x="1974430" y="401074"/>
                    <a:pt x="1976840" y="490817"/>
                  </a:cubicBezTo>
                  <a:lnTo>
                    <a:pt x="1977338" y="603524"/>
                  </a:lnTo>
                  <a:lnTo>
                    <a:pt x="1755638" y="603524"/>
                  </a:lnTo>
                  <a:lnTo>
                    <a:pt x="1755638" y="1152164"/>
                  </a:lnTo>
                  <a:lnTo>
                    <a:pt x="1975075" y="1152164"/>
                  </a:lnTo>
                  <a:lnTo>
                    <a:pt x="1975075" y="1261882"/>
                  </a:lnTo>
                  <a:cubicBezTo>
                    <a:pt x="1975075" y="1323152"/>
                    <a:pt x="1926127" y="1371600"/>
                    <a:pt x="1865356" y="1371600"/>
                  </a:cubicBezTo>
                  <a:lnTo>
                    <a:pt x="1042396" y="1371600"/>
                  </a:lnTo>
                  <a:lnTo>
                    <a:pt x="1042396" y="1152164"/>
                  </a:lnTo>
                  <a:lnTo>
                    <a:pt x="493756" y="1152164"/>
                  </a:lnTo>
                  <a:lnTo>
                    <a:pt x="493756" y="1370189"/>
                  </a:lnTo>
                  <a:lnTo>
                    <a:pt x="326362" y="1370189"/>
                  </a:lnTo>
                  <a:cubicBezTo>
                    <a:pt x="145576" y="1370189"/>
                    <a:pt x="0" y="1519331"/>
                    <a:pt x="0" y="1700804"/>
                  </a:cubicBezTo>
                  <a:lnTo>
                    <a:pt x="0" y="2249444"/>
                  </a:lnTo>
                  <a:cubicBezTo>
                    <a:pt x="0" y="2430995"/>
                    <a:pt x="145615" y="2577266"/>
                    <a:pt x="326362" y="2577266"/>
                  </a:cubicBezTo>
                  <a:lnTo>
                    <a:pt x="853076" y="2577266"/>
                  </a:lnTo>
                  <a:lnTo>
                    <a:pt x="646915" y="2784427"/>
                  </a:lnTo>
                  <a:lnTo>
                    <a:pt x="724718" y="2861770"/>
                  </a:lnTo>
                  <a:lnTo>
                    <a:pt x="1062416" y="2522319"/>
                  </a:lnTo>
                  <a:lnTo>
                    <a:pt x="724718" y="2182828"/>
                  </a:lnTo>
                  <a:lnTo>
                    <a:pt x="646915" y="2260172"/>
                  </a:lnTo>
                  <a:lnTo>
                    <a:pt x="852655" y="2468821"/>
                  </a:lnTo>
                  <a:lnTo>
                    <a:pt x="329155" y="2468859"/>
                  </a:lnTo>
                  <a:cubicBezTo>
                    <a:pt x="208914" y="2468859"/>
                    <a:pt x="108258" y="2369046"/>
                    <a:pt x="108258" y="2248042"/>
                  </a:cubicBezTo>
                  <a:lnTo>
                    <a:pt x="108258" y="1699362"/>
                  </a:lnTo>
                  <a:cubicBezTo>
                    <a:pt x="108258" y="1578319"/>
                    <a:pt x="206077" y="1479926"/>
                    <a:pt x="326402" y="1479926"/>
                  </a:cubicBezTo>
                  <a:lnTo>
                    <a:pt x="493756" y="1479926"/>
                  </a:lnTo>
                  <a:lnTo>
                    <a:pt x="493756" y="1700822"/>
                  </a:lnTo>
                  <a:lnTo>
                    <a:pt x="1042396" y="1700822"/>
                  </a:lnTo>
                  <a:lnTo>
                    <a:pt x="1042396" y="1481386"/>
                  </a:lnTo>
                  <a:lnTo>
                    <a:pt x="1865356" y="1481386"/>
                  </a:lnTo>
                  <a:cubicBezTo>
                    <a:pt x="1986674" y="1481386"/>
                    <a:pt x="2084793" y="1383720"/>
                    <a:pt x="2084793" y="1261949"/>
                  </a:cubicBezTo>
                  <a:lnTo>
                    <a:pt x="2084793" y="1152231"/>
                  </a:lnTo>
                  <a:lnTo>
                    <a:pt x="2304229" y="1152231"/>
                  </a:lnTo>
                  <a:lnTo>
                    <a:pt x="2304229" y="603591"/>
                  </a:lnTo>
                  <a:lnTo>
                    <a:pt x="2084793" y="603591"/>
                  </a:lnTo>
                  <a:close/>
                  <a:moveTo>
                    <a:pt x="932671" y="438920"/>
                  </a:moveTo>
                  <a:lnTo>
                    <a:pt x="603467" y="438920"/>
                  </a:lnTo>
                  <a:lnTo>
                    <a:pt x="603467" y="109716"/>
                  </a:lnTo>
                  <a:lnTo>
                    <a:pt x="932671" y="109716"/>
                  </a:lnTo>
                  <a:close/>
                  <a:moveTo>
                    <a:pt x="932671" y="1591064"/>
                  </a:moveTo>
                  <a:lnTo>
                    <a:pt x="603467" y="1591064"/>
                  </a:lnTo>
                  <a:lnTo>
                    <a:pt x="603467" y="1261861"/>
                  </a:lnTo>
                  <a:lnTo>
                    <a:pt x="932671" y="1261861"/>
                  </a:lnTo>
                  <a:close/>
                  <a:moveTo>
                    <a:pt x="2194543" y="1042424"/>
                  </a:moveTo>
                  <a:lnTo>
                    <a:pt x="1865339" y="1042424"/>
                  </a:lnTo>
                  <a:lnTo>
                    <a:pt x="1865339" y="713221"/>
                  </a:lnTo>
                  <a:lnTo>
                    <a:pt x="2194543" y="713221"/>
                  </a:ln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282C3525-C946-BBD3-D2B6-241E93F057B2}"/>
                </a:ext>
              </a:extLst>
            </p:cNvPr>
            <p:cNvSpPr/>
            <p:nvPr/>
          </p:nvSpPr>
          <p:spPr>
            <a:xfrm>
              <a:off x="16827563" y="-1263306"/>
              <a:ext cx="3621023" cy="4905465"/>
            </a:xfrm>
            <a:custGeom>
              <a:avLst/>
              <a:gdLst>
                <a:gd name="connsiteX0" fmla="*/ 2688366 w 3621023"/>
                <a:gd name="connsiteY0" fmla="*/ 516346 h 4905465"/>
                <a:gd name="connsiteX1" fmla="*/ 2688366 w 3621023"/>
                <a:gd name="connsiteY1" fmla="*/ 351744 h 4905465"/>
                <a:gd name="connsiteX2" fmla="*/ 2372633 w 3621023"/>
                <a:gd name="connsiteY2" fmla="*/ 354040 h 4905465"/>
                <a:gd name="connsiteX3" fmla="*/ 2221424 w 3621023"/>
                <a:gd name="connsiteY3" fmla="*/ 263034 h 4905465"/>
                <a:gd name="connsiteX4" fmla="*/ 1811972 w 3621023"/>
                <a:gd name="connsiteY4" fmla="*/ 0 h 4905465"/>
                <a:gd name="connsiteX5" fmla="*/ 1402481 w 3621023"/>
                <a:gd name="connsiteY5" fmla="*/ 263034 h 4905465"/>
                <a:gd name="connsiteX6" fmla="*/ 1251624 w 3621023"/>
                <a:gd name="connsiteY6" fmla="*/ 354040 h 4905465"/>
                <a:gd name="connsiteX7" fmla="*/ 932678 w 3621023"/>
                <a:gd name="connsiteY7" fmla="*/ 351744 h 4905465"/>
                <a:gd name="connsiteX8" fmla="*/ 932678 w 3621023"/>
                <a:gd name="connsiteY8" fmla="*/ 516346 h 4905465"/>
                <a:gd name="connsiteX9" fmla="*/ 0 w 3621023"/>
                <a:gd name="connsiteY9" fmla="*/ 516346 h 4905465"/>
                <a:gd name="connsiteX10" fmla="*/ 0 w 3621023"/>
                <a:gd name="connsiteY10" fmla="*/ 4905466 h 4905465"/>
                <a:gd name="connsiteX11" fmla="*/ 3621024 w 3621023"/>
                <a:gd name="connsiteY11" fmla="*/ 4905466 h 4905465"/>
                <a:gd name="connsiteX12" fmla="*/ 3621024 w 3621023"/>
                <a:gd name="connsiteY12" fmla="*/ 516346 h 4905465"/>
                <a:gd name="connsiteX13" fmla="*/ 1042445 w 3621023"/>
                <a:gd name="connsiteY13" fmla="*/ 461466 h 4905465"/>
                <a:gd name="connsiteX14" fmla="*/ 1261882 w 3621023"/>
                <a:gd name="connsiteY14" fmla="*/ 461466 h 4905465"/>
                <a:gd name="connsiteX15" fmla="*/ 1502558 w 3621023"/>
                <a:gd name="connsiteY15" fmla="*/ 308004 h 4905465"/>
                <a:gd name="connsiteX16" fmla="*/ 1812011 w 3621023"/>
                <a:gd name="connsiteY16" fmla="*/ 109729 h 4905465"/>
                <a:gd name="connsiteX17" fmla="*/ 2121385 w 3621023"/>
                <a:gd name="connsiteY17" fmla="*/ 308043 h 4905465"/>
                <a:gd name="connsiteX18" fmla="*/ 2359230 w 3621023"/>
                <a:gd name="connsiteY18" fmla="*/ 461427 h 4905465"/>
                <a:gd name="connsiteX19" fmla="*/ 2578667 w 3621023"/>
                <a:gd name="connsiteY19" fmla="*/ 461427 h 4905465"/>
                <a:gd name="connsiteX20" fmla="*/ 2578667 w 3621023"/>
                <a:gd name="connsiteY20" fmla="*/ 735747 h 4905465"/>
                <a:gd name="connsiteX21" fmla="*/ 2468949 w 3621023"/>
                <a:gd name="connsiteY21" fmla="*/ 845465 h 4905465"/>
                <a:gd name="connsiteX22" fmla="*/ 1152115 w 3621023"/>
                <a:gd name="connsiteY22" fmla="*/ 845542 h 4905465"/>
                <a:gd name="connsiteX23" fmla="*/ 1042396 w 3621023"/>
                <a:gd name="connsiteY23" fmla="*/ 735824 h 4905465"/>
                <a:gd name="connsiteX24" fmla="*/ 3511325 w 3621023"/>
                <a:gd name="connsiteY24" fmla="*/ 4795722 h 4905465"/>
                <a:gd name="connsiteX25" fmla="*/ 109757 w 3621023"/>
                <a:gd name="connsiteY25" fmla="*/ 4795722 h 4905465"/>
                <a:gd name="connsiteX26" fmla="*/ 109757 w 3621023"/>
                <a:gd name="connsiteY26" fmla="*/ 626058 h 4905465"/>
                <a:gd name="connsiteX27" fmla="*/ 932717 w 3621023"/>
                <a:gd name="connsiteY27" fmla="*/ 626058 h 4905465"/>
                <a:gd name="connsiteX28" fmla="*/ 932717 w 3621023"/>
                <a:gd name="connsiteY28" fmla="*/ 735776 h 4905465"/>
                <a:gd name="connsiteX29" fmla="*/ 1152154 w 3621023"/>
                <a:gd name="connsiteY29" fmla="*/ 955213 h 4905465"/>
                <a:gd name="connsiteX30" fmla="*/ 2468890 w 3621023"/>
                <a:gd name="connsiteY30" fmla="*/ 955213 h 4905465"/>
                <a:gd name="connsiteX31" fmla="*/ 2688326 w 3621023"/>
                <a:gd name="connsiteY31" fmla="*/ 735776 h 4905465"/>
                <a:gd name="connsiteX32" fmla="*/ 2688326 w 3621023"/>
                <a:gd name="connsiteY32" fmla="*/ 626058 h 4905465"/>
                <a:gd name="connsiteX33" fmla="*/ 3511286 w 3621023"/>
                <a:gd name="connsiteY33" fmla="*/ 626058 h 4905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621023" h="4905465">
                  <a:moveTo>
                    <a:pt x="2688366" y="516346"/>
                  </a:moveTo>
                  <a:lnTo>
                    <a:pt x="2688366" y="351744"/>
                  </a:lnTo>
                  <a:lnTo>
                    <a:pt x="2372633" y="354040"/>
                  </a:lnTo>
                  <a:cubicBezTo>
                    <a:pt x="2305661" y="354002"/>
                    <a:pt x="2246269" y="318258"/>
                    <a:pt x="2221424" y="263034"/>
                  </a:cubicBezTo>
                  <a:cubicBezTo>
                    <a:pt x="2149553" y="103252"/>
                    <a:pt x="1988859" y="0"/>
                    <a:pt x="1811972" y="0"/>
                  </a:cubicBezTo>
                  <a:cubicBezTo>
                    <a:pt x="1635084" y="0"/>
                    <a:pt x="1474392" y="103252"/>
                    <a:pt x="1402481" y="263034"/>
                  </a:cubicBezTo>
                  <a:cubicBezTo>
                    <a:pt x="1377643" y="318334"/>
                    <a:pt x="1318210" y="354040"/>
                    <a:pt x="1251624" y="354040"/>
                  </a:cubicBezTo>
                  <a:lnTo>
                    <a:pt x="932678" y="351744"/>
                  </a:lnTo>
                  <a:lnTo>
                    <a:pt x="932678" y="516346"/>
                  </a:lnTo>
                  <a:lnTo>
                    <a:pt x="0" y="516346"/>
                  </a:lnTo>
                  <a:lnTo>
                    <a:pt x="0" y="4905466"/>
                  </a:lnTo>
                  <a:lnTo>
                    <a:pt x="3621024" y="4905466"/>
                  </a:lnTo>
                  <a:lnTo>
                    <a:pt x="3621024" y="516346"/>
                  </a:lnTo>
                  <a:close/>
                  <a:moveTo>
                    <a:pt x="1042445" y="461466"/>
                  </a:moveTo>
                  <a:lnTo>
                    <a:pt x="1261882" y="461466"/>
                  </a:lnTo>
                  <a:cubicBezTo>
                    <a:pt x="1372060" y="461466"/>
                    <a:pt x="1459931" y="402645"/>
                    <a:pt x="1502558" y="308004"/>
                  </a:cubicBezTo>
                  <a:cubicBezTo>
                    <a:pt x="1556749" y="187567"/>
                    <a:pt x="1678221" y="109729"/>
                    <a:pt x="1812011" y="109729"/>
                  </a:cubicBezTo>
                  <a:cubicBezTo>
                    <a:pt x="1945762" y="109729"/>
                    <a:pt x="2067197" y="187570"/>
                    <a:pt x="2121385" y="308043"/>
                  </a:cubicBezTo>
                  <a:cubicBezTo>
                    <a:pt x="2164018" y="402646"/>
                    <a:pt x="2249052" y="461427"/>
                    <a:pt x="2359230" y="461427"/>
                  </a:cubicBezTo>
                  <a:lnTo>
                    <a:pt x="2578667" y="461427"/>
                  </a:lnTo>
                  <a:lnTo>
                    <a:pt x="2578667" y="735747"/>
                  </a:lnTo>
                  <a:cubicBezTo>
                    <a:pt x="2578667" y="808537"/>
                    <a:pt x="2541737" y="845465"/>
                    <a:pt x="2468949" y="845465"/>
                  </a:cubicBezTo>
                  <a:lnTo>
                    <a:pt x="1152115" y="845542"/>
                  </a:lnTo>
                  <a:cubicBezTo>
                    <a:pt x="1079325" y="845542"/>
                    <a:pt x="1042396" y="808611"/>
                    <a:pt x="1042396" y="735824"/>
                  </a:cubicBezTo>
                  <a:close/>
                  <a:moveTo>
                    <a:pt x="3511325" y="4795722"/>
                  </a:moveTo>
                  <a:lnTo>
                    <a:pt x="109757" y="4795722"/>
                  </a:lnTo>
                  <a:lnTo>
                    <a:pt x="109757" y="626058"/>
                  </a:lnTo>
                  <a:lnTo>
                    <a:pt x="932717" y="626058"/>
                  </a:lnTo>
                  <a:lnTo>
                    <a:pt x="932717" y="735776"/>
                  </a:lnTo>
                  <a:cubicBezTo>
                    <a:pt x="932717" y="869106"/>
                    <a:pt x="1018864" y="955213"/>
                    <a:pt x="1152154" y="955213"/>
                  </a:cubicBezTo>
                  <a:lnTo>
                    <a:pt x="2468890" y="955213"/>
                  </a:lnTo>
                  <a:cubicBezTo>
                    <a:pt x="2602219" y="955213"/>
                    <a:pt x="2688326" y="869067"/>
                    <a:pt x="2688326" y="735776"/>
                  </a:cubicBezTo>
                  <a:lnTo>
                    <a:pt x="2688326" y="626058"/>
                  </a:lnTo>
                  <a:lnTo>
                    <a:pt x="3511286" y="626058"/>
                  </a:ln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46A44C5C-4ABB-C16B-8EE9-0A8F4C405052}"/>
                </a:ext>
              </a:extLst>
            </p:cNvPr>
            <p:cNvSpPr/>
            <p:nvPr/>
          </p:nvSpPr>
          <p:spPr>
            <a:xfrm>
              <a:off x="18802667" y="1944227"/>
              <a:ext cx="1037732" cy="1149322"/>
            </a:xfrm>
            <a:custGeom>
              <a:avLst/>
              <a:gdLst>
                <a:gd name="connsiteX0" fmla="*/ 944964 w 1037732"/>
                <a:gd name="connsiteY0" fmla="*/ 0 h 1149322"/>
                <a:gd name="connsiteX1" fmla="*/ 808529 w 1037732"/>
                <a:gd name="connsiteY1" fmla="*/ 216644 h 1149322"/>
                <a:gd name="connsiteX2" fmla="*/ 0 w 1037732"/>
                <a:gd name="connsiteY2" fmla="*/ 216644 h 1149322"/>
                <a:gd name="connsiteX3" fmla="*/ 0 w 1037732"/>
                <a:gd name="connsiteY3" fmla="*/ 1149322 h 1149322"/>
                <a:gd name="connsiteX4" fmla="*/ 932678 w 1037732"/>
                <a:gd name="connsiteY4" fmla="*/ 1149322 h 1149322"/>
                <a:gd name="connsiteX5" fmla="*/ 932678 w 1037732"/>
                <a:gd name="connsiteY5" fmla="*/ 225295 h 1149322"/>
                <a:gd name="connsiteX6" fmla="*/ 1037733 w 1037732"/>
                <a:gd name="connsiteY6" fmla="*/ 58440 h 1149322"/>
                <a:gd name="connsiteX7" fmla="*/ 822960 w 1037732"/>
                <a:gd name="connsiteY7" fmla="*/ 1039575 h 1149322"/>
                <a:gd name="connsiteX8" fmla="*/ 109718 w 1037732"/>
                <a:gd name="connsiteY8" fmla="*/ 1039575 h 1149322"/>
                <a:gd name="connsiteX9" fmla="*/ 109718 w 1037732"/>
                <a:gd name="connsiteY9" fmla="*/ 326333 h 1149322"/>
                <a:gd name="connsiteX10" fmla="*/ 739381 w 1037732"/>
                <a:gd name="connsiteY10" fmla="*/ 326333 h 1149322"/>
                <a:gd name="connsiteX11" fmla="*/ 438657 w 1037732"/>
                <a:gd name="connsiteY11" fmla="*/ 803826 h 1149322"/>
                <a:gd name="connsiteX12" fmla="*/ 287683 w 1037732"/>
                <a:gd name="connsiteY12" fmla="*/ 584654 h 1149322"/>
                <a:gd name="connsiteX13" fmla="*/ 197365 w 1037732"/>
                <a:gd name="connsiteY13" fmla="*/ 646920 h 1149322"/>
                <a:gd name="connsiteX14" fmla="*/ 442754 w 1037732"/>
                <a:gd name="connsiteY14" fmla="*/ 1003252 h 1149322"/>
                <a:gd name="connsiteX15" fmla="*/ 822972 w 1037732"/>
                <a:gd name="connsiteY15" fmla="*/ 399503 h 1149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37732" h="1149322">
                  <a:moveTo>
                    <a:pt x="944964" y="0"/>
                  </a:moveTo>
                  <a:lnTo>
                    <a:pt x="808529" y="216644"/>
                  </a:lnTo>
                  <a:lnTo>
                    <a:pt x="0" y="216644"/>
                  </a:lnTo>
                  <a:lnTo>
                    <a:pt x="0" y="1149322"/>
                  </a:lnTo>
                  <a:lnTo>
                    <a:pt x="932678" y="1149322"/>
                  </a:lnTo>
                  <a:lnTo>
                    <a:pt x="932678" y="225295"/>
                  </a:lnTo>
                  <a:lnTo>
                    <a:pt x="1037733" y="58440"/>
                  </a:lnTo>
                  <a:close/>
                  <a:moveTo>
                    <a:pt x="822960" y="1039575"/>
                  </a:moveTo>
                  <a:lnTo>
                    <a:pt x="109718" y="1039575"/>
                  </a:lnTo>
                  <a:lnTo>
                    <a:pt x="109718" y="326333"/>
                  </a:lnTo>
                  <a:lnTo>
                    <a:pt x="739381" y="326333"/>
                  </a:lnTo>
                  <a:lnTo>
                    <a:pt x="438657" y="803826"/>
                  </a:lnTo>
                  <a:lnTo>
                    <a:pt x="287683" y="584654"/>
                  </a:lnTo>
                  <a:lnTo>
                    <a:pt x="197365" y="646920"/>
                  </a:lnTo>
                  <a:lnTo>
                    <a:pt x="442754" y="1003252"/>
                  </a:lnTo>
                  <a:lnTo>
                    <a:pt x="822972" y="399503"/>
                  </a:ln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28CA6CAA-3BB2-F969-0A2C-46E7CFCA740F}"/>
                </a:ext>
              </a:extLst>
            </p:cNvPr>
            <p:cNvSpPr/>
            <p:nvPr/>
          </p:nvSpPr>
          <p:spPr>
            <a:xfrm>
              <a:off x="18538526" y="-919018"/>
              <a:ext cx="202252" cy="200038"/>
            </a:xfrm>
            <a:custGeom>
              <a:avLst/>
              <a:gdLst>
                <a:gd name="connsiteX0" fmla="*/ 202252 w 202252"/>
                <a:gd name="connsiteY0" fmla="*/ 100039 h 200038"/>
                <a:gd name="connsiteX1" fmla="*/ 101146 w 202252"/>
                <a:gd name="connsiteY1" fmla="*/ 200038 h 200038"/>
                <a:gd name="connsiteX2" fmla="*/ 0 w 202252"/>
                <a:gd name="connsiteY2" fmla="*/ 100039 h 200038"/>
                <a:gd name="connsiteX3" fmla="*/ 101146 w 202252"/>
                <a:gd name="connsiteY3" fmla="*/ 0 h 200038"/>
                <a:gd name="connsiteX4" fmla="*/ 202252 w 202252"/>
                <a:gd name="connsiteY4" fmla="*/ 100039 h 200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2252" h="200038">
                  <a:moveTo>
                    <a:pt x="202252" y="100039"/>
                  </a:moveTo>
                  <a:cubicBezTo>
                    <a:pt x="202252" y="155262"/>
                    <a:pt x="156979" y="200038"/>
                    <a:pt x="101146" y="200038"/>
                  </a:cubicBezTo>
                  <a:cubicBezTo>
                    <a:pt x="45272" y="200038"/>
                    <a:pt x="0" y="155262"/>
                    <a:pt x="0" y="100039"/>
                  </a:cubicBezTo>
                  <a:cubicBezTo>
                    <a:pt x="0" y="44777"/>
                    <a:pt x="45274" y="0"/>
                    <a:pt x="101146" y="0"/>
                  </a:cubicBezTo>
                  <a:cubicBezTo>
                    <a:pt x="156982" y="0"/>
                    <a:pt x="202252" y="44776"/>
                    <a:pt x="202252" y="100039"/>
                  </a:cubicBezTo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01E589FD-583A-7467-9696-DB844179377D}"/>
              </a:ext>
            </a:extLst>
          </p:cNvPr>
          <p:cNvGrpSpPr/>
          <p:nvPr/>
        </p:nvGrpSpPr>
        <p:grpSpPr>
          <a:xfrm>
            <a:off x="3235793" y="5188538"/>
            <a:ext cx="498186" cy="498280"/>
            <a:chOff x="4264723" y="1597818"/>
            <a:chExt cx="3662635" cy="3663322"/>
          </a:xfrm>
          <a:solidFill>
            <a:schemeClr val="accent1"/>
          </a:solidFill>
        </p:grpSpPr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9BB7A74A-4324-5A42-6378-631C02CC1A48}"/>
                </a:ext>
              </a:extLst>
            </p:cNvPr>
            <p:cNvSpPr/>
            <p:nvPr/>
          </p:nvSpPr>
          <p:spPr>
            <a:xfrm>
              <a:off x="4264723" y="1841665"/>
              <a:ext cx="1971675" cy="3419475"/>
            </a:xfrm>
            <a:custGeom>
              <a:avLst/>
              <a:gdLst>
                <a:gd name="connsiteX0" fmla="*/ 7239 w 1971675"/>
                <a:gd name="connsiteY0" fmla="*/ 2794057 h 3419475"/>
                <a:gd name="connsiteX1" fmla="*/ 51721 w 1971675"/>
                <a:gd name="connsiteY1" fmla="*/ 2695473 h 3419475"/>
                <a:gd name="connsiteX2" fmla="*/ 152400 w 1971675"/>
                <a:gd name="connsiteY2" fmla="*/ 2587841 h 3419475"/>
                <a:gd name="connsiteX3" fmla="*/ 68771 w 1971675"/>
                <a:gd name="connsiteY3" fmla="*/ 2367813 h 3419475"/>
                <a:gd name="connsiteX4" fmla="*/ 151638 w 1971675"/>
                <a:gd name="connsiteY4" fmla="*/ 2168740 h 3419475"/>
                <a:gd name="connsiteX5" fmla="*/ 551879 w 1971675"/>
                <a:gd name="connsiteY5" fmla="*/ 2130736 h 3419475"/>
                <a:gd name="connsiteX6" fmla="*/ 551879 w 1971675"/>
                <a:gd name="connsiteY6" fmla="*/ 1281487 h 3419475"/>
                <a:gd name="connsiteX7" fmla="*/ 548450 w 1971675"/>
                <a:gd name="connsiteY7" fmla="*/ 1279867 h 3419475"/>
                <a:gd name="connsiteX8" fmla="*/ 497872 w 1971675"/>
                <a:gd name="connsiteY8" fmla="*/ 1440554 h 3419475"/>
                <a:gd name="connsiteX9" fmla="*/ 211645 w 1971675"/>
                <a:gd name="connsiteY9" fmla="*/ 1563331 h 3419475"/>
                <a:gd name="connsiteX10" fmla="*/ 118586 w 1971675"/>
                <a:gd name="connsiteY10" fmla="*/ 1347781 h 3419475"/>
                <a:gd name="connsiteX11" fmla="*/ 285274 w 1971675"/>
                <a:gd name="connsiteY11" fmla="*/ 774661 h 3419475"/>
                <a:gd name="connsiteX12" fmla="*/ 632365 w 1971675"/>
                <a:gd name="connsiteY12" fmla="*/ 497770 h 3419475"/>
                <a:gd name="connsiteX13" fmla="*/ 671036 w 1971675"/>
                <a:gd name="connsiteY13" fmla="*/ 491864 h 3419475"/>
                <a:gd name="connsiteX14" fmla="*/ 720662 w 1971675"/>
                <a:gd name="connsiteY14" fmla="*/ 82670 h 3419475"/>
                <a:gd name="connsiteX15" fmla="*/ 1087374 w 1971675"/>
                <a:gd name="connsiteY15" fmla="*/ 57524 h 3419475"/>
                <a:gd name="connsiteX16" fmla="*/ 1201103 w 1971675"/>
                <a:gd name="connsiteY16" fmla="*/ 434714 h 3419475"/>
                <a:gd name="connsiteX17" fmla="*/ 1237202 w 1971675"/>
                <a:gd name="connsiteY17" fmla="*/ 418045 h 3419475"/>
                <a:gd name="connsiteX18" fmla="*/ 1669828 w 1971675"/>
                <a:gd name="connsiteY18" fmla="*/ 193446 h 3419475"/>
                <a:gd name="connsiteX19" fmla="*/ 1964055 w 1971675"/>
                <a:gd name="connsiteY19" fmla="*/ 350989 h 3419475"/>
                <a:gd name="connsiteX20" fmla="*/ 1858423 w 1971675"/>
                <a:gd name="connsiteY20" fmla="*/ 537870 h 3419475"/>
                <a:gd name="connsiteX21" fmla="*/ 1315212 w 1971675"/>
                <a:gd name="connsiteY21" fmla="*/ 819619 h 3419475"/>
                <a:gd name="connsiteX22" fmla="*/ 1284351 w 1971675"/>
                <a:gd name="connsiteY22" fmla="*/ 867911 h 3419475"/>
                <a:gd name="connsiteX23" fmla="*/ 1285113 w 1971675"/>
                <a:gd name="connsiteY23" fmla="*/ 2040439 h 3419475"/>
                <a:gd name="connsiteX24" fmla="*/ 1286828 w 1971675"/>
                <a:gd name="connsiteY24" fmla="*/ 2075872 h 3419475"/>
                <a:gd name="connsiteX25" fmla="*/ 1612868 w 1971675"/>
                <a:gd name="connsiteY25" fmla="*/ 2235511 h 3419475"/>
                <a:gd name="connsiteX26" fmla="*/ 1562291 w 1971675"/>
                <a:gd name="connsiteY26" fmla="*/ 2593556 h 3419475"/>
                <a:gd name="connsiteX27" fmla="*/ 1583436 w 1971675"/>
                <a:gd name="connsiteY27" fmla="*/ 2609367 h 3419475"/>
                <a:gd name="connsiteX28" fmla="*/ 1710881 w 1971675"/>
                <a:gd name="connsiteY28" fmla="*/ 2839300 h 3419475"/>
                <a:gd name="connsiteX29" fmla="*/ 1709928 w 1971675"/>
                <a:gd name="connsiteY29" fmla="*/ 3341744 h 3419475"/>
                <a:gd name="connsiteX30" fmla="*/ 1676114 w 1971675"/>
                <a:gd name="connsiteY30" fmla="*/ 3414420 h 3419475"/>
                <a:gd name="connsiteX31" fmla="*/ 1020032 w 1971675"/>
                <a:gd name="connsiteY31" fmla="*/ 3414420 h 3419475"/>
                <a:gd name="connsiteX32" fmla="*/ 979361 w 1971675"/>
                <a:gd name="connsiteY32" fmla="*/ 3333172 h 3419475"/>
                <a:gd name="connsiteX33" fmla="*/ 979742 w 1971675"/>
                <a:gd name="connsiteY33" fmla="*/ 2855493 h 3419475"/>
                <a:gd name="connsiteX34" fmla="*/ 1068324 w 1971675"/>
                <a:gd name="connsiteY34" fmla="*/ 2641371 h 3419475"/>
                <a:gd name="connsiteX35" fmla="*/ 1080135 w 1971675"/>
                <a:gd name="connsiteY35" fmla="*/ 2625369 h 3419475"/>
                <a:gd name="connsiteX36" fmla="*/ 638080 w 1971675"/>
                <a:gd name="connsiteY36" fmla="*/ 2625369 h 3419475"/>
                <a:gd name="connsiteX37" fmla="*/ 644747 w 1971675"/>
                <a:gd name="connsiteY37" fmla="*/ 2636227 h 3419475"/>
                <a:gd name="connsiteX38" fmla="*/ 738950 w 1971675"/>
                <a:gd name="connsiteY38" fmla="*/ 2869495 h 3419475"/>
                <a:gd name="connsiteX39" fmla="*/ 739045 w 1971675"/>
                <a:gd name="connsiteY39" fmla="*/ 3325742 h 3419475"/>
                <a:gd name="connsiteX40" fmla="*/ 698945 w 1971675"/>
                <a:gd name="connsiteY40" fmla="*/ 3414325 h 3419475"/>
                <a:gd name="connsiteX41" fmla="*/ 7144 w 1971675"/>
                <a:gd name="connsiteY41" fmla="*/ 3414325 h 3419475"/>
                <a:gd name="connsiteX42" fmla="*/ 7239 w 1971675"/>
                <a:gd name="connsiteY42" fmla="*/ 2794057 h 3419475"/>
                <a:gd name="connsiteX43" fmla="*/ 1064324 w 1971675"/>
                <a:gd name="connsiteY43" fmla="*/ 2500591 h 3419475"/>
                <a:gd name="connsiteX44" fmla="*/ 1060037 w 1971675"/>
                <a:gd name="connsiteY44" fmla="*/ 2478875 h 3419475"/>
                <a:gd name="connsiteX45" fmla="*/ 1143857 w 1971675"/>
                <a:gd name="connsiteY45" fmla="*/ 2151405 h 3419475"/>
                <a:gd name="connsiteX46" fmla="*/ 1162145 w 1971675"/>
                <a:gd name="connsiteY46" fmla="*/ 2102256 h 3419475"/>
                <a:gd name="connsiteX47" fmla="*/ 1161860 w 1971675"/>
                <a:gd name="connsiteY47" fmla="*/ 829906 h 3419475"/>
                <a:gd name="connsiteX48" fmla="*/ 1225201 w 1971675"/>
                <a:gd name="connsiteY48" fmla="*/ 727417 h 3419475"/>
                <a:gd name="connsiteX49" fmla="*/ 1765745 w 1971675"/>
                <a:gd name="connsiteY49" fmla="*/ 448240 h 3419475"/>
                <a:gd name="connsiteX50" fmla="*/ 1808988 w 1971675"/>
                <a:gd name="connsiteY50" fmla="*/ 423570 h 3419475"/>
                <a:gd name="connsiteX51" fmla="*/ 1834134 w 1971675"/>
                <a:gd name="connsiteY51" fmla="*/ 332701 h 3419475"/>
                <a:gd name="connsiteX52" fmla="*/ 1751362 w 1971675"/>
                <a:gd name="connsiteY52" fmla="*/ 292982 h 3419475"/>
                <a:gd name="connsiteX53" fmla="*/ 1712309 w 1971675"/>
                <a:gd name="connsiteY53" fmla="*/ 309841 h 3419475"/>
                <a:gd name="connsiteX54" fmla="*/ 1162336 w 1971675"/>
                <a:gd name="connsiteY54" fmla="*/ 594067 h 3419475"/>
                <a:gd name="connsiteX55" fmla="*/ 1070896 w 1971675"/>
                <a:gd name="connsiteY55" fmla="*/ 616165 h 3419475"/>
                <a:gd name="connsiteX56" fmla="*/ 661035 w 1971675"/>
                <a:gd name="connsiteY56" fmla="*/ 618928 h 3419475"/>
                <a:gd name="connsiteX57" fmla="*/ 397288 w 1971675"/>
                <a:gd name="connsiteY57" fmla="*/ 826477 h 3419475"/>
                <a:gd name="connsiteX58" fmla="*/ 367284 w 1971675"/>
                <a:gd name="connsiteY58" fmla="*/ 928776 h 3419475"/>
                <a:gd name="connsiteX59" fmla="*/ 239458 w 1971675"/>
                <a:gd name="connsiteY59" fmla="*/ 1372641 h 3419475"/>
                <a:gd name="connsiteX60" fmla="*/ 301371 w 1971675"/>
                <a:gd name="connsiteY60" fmla="*/ 1464938 h 3419475"/>
                <a:gd name="connsiteX61" fmla="*/ 381381 w 1971675"/>
                <a:gd name="connsiteY61" fmla="*/ 1399311 h 3419475"/>
                <a:gd name="connsiteX62" fmla="*/ 554641 w 1971675"/>
                <a:gd name="connsiteY62" fmla="*/ 850480 h 3419475"/>
                <a:gd name="connsiteX63" fmla="*/ 624745 w 1971675"/>
                <a:gd name="connsiteY63" fmla="*/ 799045 h 3419475"/>
                <a:gd name="connsiteX64" fmla="*/ 677227 w 1971675"/>
                <a:gd name="connsiteY64" fmla="*/ 869149 h 3419475"/>
                <a:gd name="connsiteX65" fmla="*/ 677323 w 1971675"/>
                <a:gd name="connsiteY65" fmla="*/ 897629 h 3419475"/>
                <a:gd name="connsiteX66" fmla="*/ 676466 w 1971675"/>
                <a:gd name="connsiteY66" fmla="*/ 1699539 h 3419475"/>
                <a:gd name="connsiteX67" fmla="*/ 660749 w 1971675"/>
                <a:gd name="connsiteY67" fmla="*/ 2499544 h 3419475"/>
                <a:gd name="connsiteX68" fmla="*/ 858393 w 1971675"/>
                <a:gd name="connsiteY68" fmla="*/ 2499544 h 3419475"/>
                <a:gd name="connsiteX69" fmla="*/ 858393 w 1971675"/>
                <a:gd name="connsiteY69" fmla="*/ 1470367 h 3419475"/>
                <a:gd name="connsiteX70" fmla="*/ 984028 w 1971675"/>
                <a:gd name="connsiteY70" fmla="*/ 1470367 h 3419475"/>
                <a:gd name="connsiteX71" fmla="*/ 984028 w 1971675"/>
                <a:gd name="connsiteY71" fmla="*/ 2500687 h 3419475"/>
                <a:gd name="connsiteX72" fmla="*/ 1064324 w 1971675"/>
                <a:gd name="connsiteY72" fmla="*/ 2500591 h 3419475"/>
                <a:gd name="connsiteX73" fmla="*/ 1586865 w 1971675"/>
                <a:gd name="connsiteY73" fmla="*/ 3291928 h 3419475"/>
                <a:gd name="connsiteX74" fmla="*/ 1585055 w 1971675"/>
                <a:gd name="connsiteY74" fmla="*/ 2826537 h 3419475"/>
                <a:gd name="connsiteX75" fmla="*/ 1422749 w 1971675"/>
                <a:gd name="connsiteY75" fmla="*/ 2685948 h 3419475"/>
                <a:gd name="connsiteX76" fmla="*/ 1276636 w 1971675"/>
                <a:gd name="connsiteY76" fmla="*/ 2685853 h 3419475"/>
                <a:gd name="connsiteX77" fmla="*/ 1104329 w 1971675"/>
                <a:gd name="connsiteY77" fmla="*/ 2858350 h 3419475"/>
                <a:gd name="connsiteX78" fmla="*/ 1104329 w 1971675"/>
                <a:gd name="connsiteY78" fmla="*/ 3257448 h 3419475"/>
                <a:gd name="connsiteX79" fmla="*/ 1106043 w 1971675"/>
                <a:gd name="connsiteY79" fmla="*/ 3291928 h 3419475"/>
                <a:gd name="connsiteX80" fmla="*/ 1586865 w 1971675"/>
                <a:gd name="connsiteY80" fmla="*/ 3291928 h 3419475"/>
                <a:gd name="connsiteX81" fmla="*/ 613220 w 1971675"/>
                <a:gd name="connsiteY81" fmla="*/ 3291928 h 3419475"/>
                <a:gd name="connsiteX82" fmla="*/ 611791 w 1971675"/>
                <a:gd name="connsiteY82" fmla="*/ 2819012 h 3419475"/>
                <a:gd name="connsiteX83" fmla="*/ 466725 w 1971675"/>
                <a:gd name="connsiteY83" fmla="*/ 2686710 h 3419475"/>
                <a:gd name="connsiteX84" fmla="*/ 309944 w 1971675"/>
                <a:gd name="connsiteY84" fmla="*/ 2685186 h 3419475"/>
                <a:gd name="connsiteX85" fmla="*/ 128397 w 1971675"/>
                <a:gd name="connsiteY85" fmla="*/ 2865685 h 3419475"/>
                <a:gd name="connsiteX86" fmla="*/ 128969 w 1971675"/>
                <a:gd name="connsiteY86" fmla="*/ 3257734 h 3419475"/>
                <a:gd name="connsiteX87" fmla="*/ 130397 w 1971675"/>
                <a:gd name="connsiteY87" fmla="*/ 3291833 h 3419475"/>
                <a:gd name="connsiteX88" fmla="*/ 613220 w 1971675"/>
                <a:gd name="connsiteY88" fmla="*/ 3291928 h 3419475"/>
                <a:gd name="connsiteX89" fmla="*/ 1527048 w 1971675"/>
                <a:gd name="connsiteY89" fmla="*/ 2379148 h 3419475"/>
                <a:gd name="connsiteX90" fmla="*/ 1348264 w 1971675"/>
                <a:gd name="connsiteY90" fmla="*/ 2195696 h 3419475"/>
                <a:gd name="connsiteX91" fmla="*/ 1163860 w 1971675"/>
                <a:gd name="connsiteY91" fmla="*/ 2378291 h 3419475"/>
                <a:gd name="connsiteX92" fmla="*/ 1345597 w 1971675"/>
                <a:gd name="connsiteY92" fmla="*/ 2559170 h 3419475"/>
                <a:gd name="connsiteX93" fmla="*/ 1527048 w 1971675"/>
                <a:gd name="connsiteY93" fmla="*/ 2379148 h 3419475"/>
                <a:gd name="connsiteX94" fmla="*/ 191643 w 1971675"/>
                <a:gd name="connsiteY94" fmla="*/ 2379148 h 3419475"/>
                <a:gd name="connsiteX95" fmla="*/ 372904 w 1971675"/>
                <a:gd name="connsiteY95" fmla="*/ 2559170 h 3419475"/>
                <a:gd name="connsiteX96" fmla="*/ 554450 w 1971675"/>
                <a:gd name="connsiteY96" fmla="*/ 2378291 h 3419475"/>
                <a:gd name="connsiteX97" fmla="*/ 370237 w 1971675"/>
                <a:gd name="connsiteY97" fmla="*/ 2195696 h 3419475"/>
                <a:gd name="connsiteX98" fmla="*/ 191643 w 1971675"/>
                <a:gd name="connsiteY98" fmla="*/ 2379148 h 3419475"/>
                <a:gd name="connsiteX99" fmla="*/ 1100614 w 1971675"/>
                <a:gd name="connsiteY99" fmla="*/ 311461 h 3419475"/>
                <a:gd name="connsiteX100" fmla="*/ 920972 w 1971675"/>
                <a:gd name="connsiteY100" fmla="*/ 129533 h 3419475"/>
                <a:gd name="connsiteX101" fmla="*/ 739426 w 1971675"/>
                <a:gd name="connsiteY101" fmla="*/ 309556 h 3419475"/>
                <a:gd name="connsiteX102" fmla="*/ 920877 w 1971675"/>
                <a:gd name="connsiteY102" fmla="*/ 492150 h 3419475"/>
                <a:gd name="connsiteX103" fmla="*/ 1100614 w 1971675"/>
                <a:gd name="connsiteY103" fmla="*/ 311461 h 3419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</a:cxnLst>
              <a:rect l="l" t="t" r="r" b="b"/>
              <a:pathLst>
                <a:path w="1971675" h="3419475">
                  <a:moveTo>
                    <a:pt x="7239" y="2794057"/>
                  </a:moveTo>
                  <a:cubicBezTo>
                    <a:pt x="21622" y="2760910"/>
                    <a:pt x="30956" y="2723953"/>
                    <a:pt x="51721" y="2695473"/>
                  </a:cubicBezTo>
                  <a:cubicBezTo>
                    <a:pt x="79820" y="2656992"/>
                    <a:pt x="116777" y="2625083"/>
                    <a:pt x="152400" y="2587841"/>
                  </a:cubicBezTo>
                  <a:cubicBezTo>
                    <a:pt x="97727" y="2529262"/>
                    <a:pt x="66199" y="2454681"/>
                    <a:pt x="68771" y="2367813"/>
                  </a:cubicBezTo>
                  <a:cubicBezTo>
                    <a:pt x="71057" y="2291232"/>
                    <a:pt x="99251" y="2224652"/>
                    <a:pt x="151638" y="2168740"/>
                  </a:cubicBezTo>
                  <a:cubicBezTo>
                    <a:pt x="226981" y="2088349"/>
                    <a:pt x="380810" y="2022817"/>
                    <a:pt x="551879" y="2130736"/>
                  </a:cubicBezTo>
                  <a:cubicBezTo>
                    <a:pt x="551879" y="1846319"/>
                    <a:pt x="551879" y="1563903"/>
                    <a:pt x="551879" y="1281487"/>
                  </a:cubicBezTo>
                  <a:cubicBezTo>
                    <a:pt x="550736" y="1280915"/>
                    <a:pt x="549593" y="1280439"/>
                    <a:pt x="548450" y="1279867"/>
                  </a:cubicBezTo>
                  <a:cubicBezTo>
                    <a:pt x="531590" y="1333493"/>
                    <a:pt x="515112" y="1387119"/>
                    <a:pt x="497872" y="1440554"/>
                  </a:cubicBezTo>
                  <a:cubicBezTo>
                    <a:pt x="456057" y="1570189"/>
                    <a:pt x="325374" y="1626196"/>
                    <a:pt x="211645" y="1563331"/>
                  </a:cubicBezTo>
                  <a:cubicBezTo>
                    <a:pt x="135827" y="1521421"/>
                    <a:pt x="94964" y="1430934"/>
                    <a:pt x="118586" y="1347781"/>
                  </a:cubicBezTo>
                  <a:cubicBezTo>
                    <a:pt x="172879" y="1156423"/>
                    <a:pt x="227457" y="965066"/>
                    <a:pt x="285274" y="774661"/>
                  </a:cubicBezTo>
                  <a:cubicBezTo>
                    <a:pt x="330518" y="625405"/>
                    <a:pt x="476726" y="511486"/>
                    <a:pt x="632365" y="497770"/>
                  </a:cubicBezTo>
                  <a:cubicBezTo>
                    <a:pt x="645128" y="496627"/>
                    <a:pt x="657701" y="493960"/>
                    <a:pt x="671036" y="491864"/>
                  </a:cubicBezTo>
                  <a:cubicBezTo>
                    <a:pt x="591884" y="304984"/>
                    <a:pt x="607695" y="178301"/>
                    <a:pt x="720662" y="82670"/>
                  </a:cubicBezTo>
                  <a:cubicBezTo>
                    <a:pt x="827151" y="-7436"/>
                    <a:pt x="972598" y="-18295"/>
                    <a:pt x="1087374" y="57524"/>
                  </a:cubicBezTo>
                  <a:cubicBezTo>
                    <a:pt x="1180052" y="118770"/>
                    <a:pt x="1265396" y="249453"/>
                    <a:pt x="1201103" y="434714"/>
                  </a:cubicBezTo>
                  <a:cubicBezTo>
                    <a:pt x="1214914" y="428428"/>
                    <a:pt x="1226344" y="423760"/>
                    <a:pt x="1237202" y="418045"/>
                  </a:cubicBezTo>
                  <a:cubicBezTo>
                    <a:pt x="1381411" y="343179"/>
                    <a:pt x="1525334" y="267836"/>
                    <a:pt x="1669828" y="193446"/>
                  </a:cubicBezTo>
                  <a:cubicBezTo>
                    <a:pt x="1803940" y="124294"/>
                    <a:pt x="1947672" y="201637"/>
                    <a:pt x="1964055" y="350989"/>
                  </a:cubicBezTo>
                  <a:cubicBezTo>
                    <a:pt x="1972056" y="423951"/>
                    <a:pt x="1929860" y="500437"/>
                    <a:pt x="1858423" y="537870"/>
                  </a:cubicBezTo>
                  <a:cubicBezTo>
                    <a:pt x="1677638" y="632358"/>
                    <a:pt x="1496568" y="726274"/>
                    <a:pt x="1315212" y="819619"/>
                  </a:cubicBezTo>
                  <a:cubicBezTo>
                    <a:pt x="1294162" y="830478"/>
                    <a:pt x="1284351" y="842098"/>
                    <a:pt x="1284351" y="867911"/>
                  </a:cubicBezTo>
                  <a:cubicBezTo>
                    <a:pt x="1285303" y="1258722"/>
                    <a:pt x="1285018" y="1649628"/>
                    <a:pt x="1285113" y="2040439"/>
                  </a:cubicBezTo>
                  <a:cubicBezTo>
                    <a:pt x="1285113" y="2050916"/>
                    <a:pt x="1286066" y="2061394"/>
                    <a:pt x="1286828" y="2075872"/>
                  </a:cubicBezTo>
                  <a:cubicBezTo>
                    <a:pt x="1428941" y="2062346"/>
                    <a:pt x="1544669" y="2105685"/>
                    <a:pt x="1612868" y="2235511"/>
                  </a:cubicBezTo>
                  <a:cubicBezTo>
                    <a:pt x="1680115" y="2363622"/>
                    <a:pt x="1655540" y="2482780"/>
                    <a:pt x="1562291" y="2593556"/>
                  </a:cubicBezTo>
                  <a:cubicBezTo>
                    <a:pt x="1569244" y="2598794"/>
                    <a:pt x="1576102" y="2604414"/>
                    <a:pt x="1583436" y="2609367"/>
                  </a:cubicBezTo>
                  <a:cubicBezTo>
                    <a:pt x="1664684" y="2664612"/>
                    <a:pt x="1709642" y="2741288"/>
                    <a:pt x="1710881" y="2839300"/>
                  </a:cubicBezTo>
                  <a:cubicBezTo>
                    <a:pt x="1712881" y="3006750"/>
                    <a:pt x="1712881" y="3174295"/>
                    <a:pt x="1709928" y="3341744"/>
                  </a:cubicBezTo>
                  <a:cubicBezTo>
                    <a:pt x="1709452" y="3366128"/>
                    <a:pt x="1687925" y="3390131"/>
                    <a:pt x="1676114" y="3414420"/>
                  </a:cubicBezTo>
                  <a:cubicBezTo>
                    <a:pt x="1457420" y="3414420"/>
                    <a:pt x="1238726" y="3414420"/>
                    <a:pt x="1020032" y="3414420"/>
                  </a:cubicBezTo>
                  <a:cubicBezTo>
                    <a:pt x="990505" y="3395370"/>
                    <a:pt x="979265" y="3367652"/>
                    <a:pt x="979361" y="3333172"/>
                  </a:cubicBezTo>
                  <a:cubicBezTo>
                    <a:pt x="979837" y="3173914"/>
                    <a:pt x="979075" y="3014751"/>
                    <a:pt x="979742" y="2855493"/>
                  </a:cubicBezTo>
                  <a:cubicBezTo>
                    <a:pt x="980123" y="2772435"/>
                    <a:pt x="1006888" y="2699569"/>
                    <a:pt x="1068324" y="2641371"/>
                  </a:cubicBezTo>
                  <a:cubicBezTo>
                    <a:pt x="1072801" y="2637180"/>
                    <a:pt x="1075754" y="2631465"/>
                    <a:pt x="1080135" y="2625369"/>
                  </a:cubicBezTo>
                  <a:cubicBezTo>
                    <a:pt x="931354" y="2625369"/>
                    <a:pt x="785908" y="2625369"/>
                    <a:pt x="638080" y="2625369"/>
                  </a:cubicBezTo>
                  <a:cubicBezTo>
                    <a:pt x="641318" y="2630798"/>
                    <a:pt x="642461" y="2634132"/>
                    <a:pt x="644747" y="2636227"/>
                  </a:cubicBezTo>
                  <a:cubicBezTo>
                    <a:pt x="713708" y="2698902"/>
                    <a:pt x="739426" y="2778436"/>
                    <a:pt x="738950" y="2869495"/>
                  </a:cubicBezTo>
                  <a:cubicBezTo>
                    <a:pt x="738188" y="3021609"/>
                    <a:pt x="738378" y="3173628"/>
                    <a:pt x="739045" y="3325742"/>
                  </a:cubicBezTo>
                  <a:cubicBezTo>
                    <a:pt x="739235" y="3362128"/>
                    <a:pt x="731711" y="3393560"/>
                    <a:pt x="698945" y="3414325"/>
                  </a:cubicBezTo>
                  <a:cubicBezTo>
                    <a:pt x="469011" y="3414325"/>
                    <a:pt x="238982" y="3414325"/>
                    <a:pt x="7144" y="3414325"/>
                  </a:cubicBezTo>
                  <a:cubicBezTo>
                    <a:pt x="7239" y="3207537"/>
                    <a:pt x="7239" y="3000844"/>
                    <a:pt x="7239" y="2794057"/>
                  </a:cubicBezTo>
                  <a:close/>
                  <a:moveTo>
                    <a:pt x="1064324" y="2500591"/>
                  </a:moveTo>
                  <a:cubicBezTo>
                    <a:pt x="1062704" y="2492305"/>
                    <a:pt x="1062133" y="2485351"/>
                    <a:pt x="1060037" y="2478875"/>
                  </a:cubicBezTo>
                  <a:cubicBezTo>
                    <a:pt x="1018889" y="2352001"/>
                    <a:pt x="1048322" y="2243893"/>
                    <a:pt x="1143857" y="2151405"/>
                  </a:cubicBezTo>
                  <a:cubicBezTo>
                    <a:pt x="1155287" y="2140356"/>
                    <a:pt x="1162145" y="2118925"/>
                    <a:pt x="1162145" y="2102256"/>
                  </a:cubicBezTo>
                  <a:cubicBezTo>
                    <a:pt x="1163098" y="1678108"/>
                    <a:pt x="1163765" y="1254055"/>
                    <a:pt x="1161860" y="829906"/>
                  </a:cubicBezTo>
                  <a:cubicBezTo>
                    <a:pt x="1161669" y="778281"/>
                    <a:pt x="1180433" y="749992"/>
                    <a:pt x="1225201" y="727417"/>
                  </a:cubicBezTo>
                  <a:cubicBezTo>
                    <a:pt x="1406176" y="635882"/>
                    <a:pt x="1585722" y="541585"/>
                    <a:pt x="1765745" y="448240"/>
                  </a:cubicBezTo>
                  <a:cubicBezTo>
                    <a:pt x="1780508" y="440620"/>
                    <a:pt x="1795272" y="432904"/>
                    <a:pt x="1808988" y="423570"/>
                  </a:cubicBezTo>
                  <a:cubicBezTo>
                    <a:pt x="1839754" y="402520"/>
                    <a:pt x="1849565" y="365372"/>
                    <a:pt x="1834134" y="332701"/>
                  </a:cubicBezTo>
                  <a:cubicBezTo>
                    <a:pt x="1819275" y="301269"/>
                    <a:pt x="1785461" y="284219"/>
                    <a:pt x="1751362" y="292982"/>
                  </a:cubicBezTo>
                  <a:cubicBezTo>
                    <a:pt x="1737836" y="296506"/>
                    <a:pt x="1724882" y="303364"/>
                    <a:pt x="1712309" y="309841"/>
                  </a:cubicBezTo>
                  <a:cubicBezTo>
                    <a:pt x="1529048" y="404710"/>
                    <a:pt x="1346359" y="500722"/>
                    <a:pt x="1162336" y="594067"/>
                  </a:cubicBezTo>
                  <a:cubicBezTo>
                    <a:pt x="1134999" y="607974"/>
                    <a:pt x="1101662" y="615499"/>
                    <a:pt x="1070896" y="616165"/>
                  </a:cubicBezTo>
                  <a:cubicBezTo>
                    <a:pt x="934307" y="618832"/>
                    <a:pt x="797624" y="615594"/>
                    <a:pt x="661035" y="618928"/>
                  </a:cubicBezTo>
                  <a:cubicBezTo>
                    <a:pt x="535781" y="621976"/>
                    <a:pt x="433197" y="705415"/>
                    <a:pt x="397288" y="826477"/>
                  </a:cubicBezTo>
                  <a:cubicBezTo>
                    <a:pt x="387191" y="860577"/>
                    <a:pt x="377095" y="894581"/>
                    <a:pt x="367284" y="928776"/>
                  </a:cubicBezTo>
                  <a:cubicBezTo>
                    <a:pt x="324517" y="1076699"/>
                    <a:pt x="281369" y="1224432"/>
                    <a:pt x="239458" y="1372641"/>
                  </a:cubicBezTo>
                  <a:cubicBezTo>
                    <a:pt x="226314" y="1419123"/>
                    <a:pt x="255175" y="1460080"/>
                    <a:pt x="301371" y="1464938"/>
                  </a:cubicBezTo>
                  <a:cubicBezTo>
                    <a:pt x="338614" y="1468843"/>
                    <a:pt x="366332" y="1446745"/>
                    <a:pt x="381381" y="1399311"/>
                  </a:cubicBezTo>
                  <a:cubicBezTo>
                    <a:pt x="439293" y="1216431"/>
                    <a:pt x="496538" y="1033265"/>
                    <a:pt x="554641" y="850480"/>
                  </a:cubicBezTo>
                  <a:cubicBezTo>
                    <a:pt x="567119" y="811333"/>
                    <a:pt x="592836" y="793807"/>
                    <a:pt x="624745" y="799045"/>
                  </a:cubicBezTo>
                  <a:cubicBezTo>
                    <a:pt x="657035" y="804379"/>
                    <a:pt x="676085" y="829716"/>
                    <a:pt x="677227" y="869149"/>
                  </a:cubicBezTo>
                  <a:cubicBezTo>
                    <a:pt x="677513" y="878674"/>
                    <a:pt x="677323" y="888199"/>
                    <a:pt x="677323" y="897629"/>
                  </a:cubicBezTo>
                  <a:cubicBezTo>
                    <a:pt x="677323" y="1164901"/>
                    <a:pt x="680466" y="1432267"/>
                    <a:pt x="676466" y="1699539"/>
                  </a:cubicBezTo>
                  <a:cubicBezTo>
                    <a:pt x="672465" y="1966525"/>
                    <a:pt x="695325" y="2234177"/>
                    <a:pt x="660749" y="2499544"/>
                  </a:cubicBezTo>
                  <a:cubicBezTo>
                    <a:pt x="723519" y="2499544"/>
                    <a:pt x="789527" y="2499544"/>
                    <a:pt x="858393" y="2499544"/>
                  </a:cubicBezTo>
                  <a:cubicBezTo>
                    <a:pt x="858393" y="2155405"/>
                    <a:pt x="858393" y="1813744"/>
                    <a:pt x="858393" y="1470367"/>
                  </a:cubicBezTo>
                  <a:cubicBezTo>
                    <a:pt x="900875" y="1470367"/>
                    <a:pt x="940213" y="1470367"/>
                    <a:pt x="984028" y="1470367"/>
                  </a:cubicBezTo>
                  <a:cubicBezTo>
                    <a:pt x="984028" y="1815458"/>
                    <a:pt x="984028" y="2157882"/>
                    <a:pt x="984028" y="2500687"/>
                  </a:cubicBezTo>
                  <a:cubicBezTo>
                    <a:pt x="1013079" y="2500591"/>
                    <a:pt x="1037844" y="2500591"/>
                    <a:pt x="1064324" y="2500591"/>
                  </a:cubicBezTo>
                  <a:close/>
                  <a:moveTo>
                    <a:pt x="1586865" y="3291928"/>
                  </a:moveTo>
                  <a:cubicBezTo>
                    <a:pt x="1586865" y="3134480"/>
                    <a:pt x="1591628" y="2980270"/>
                    <a:pt x="1585055" y="2826537"/>
                  </a:cubicBezTo>
                  <a:cubicBezTo>
                    <a:pt x="1581245" y="2737859"/>
                    <a:pt x="1513618" y="2687091"/>
                    <a:pt x="1422749" y="2685948"/>
                  </a:cubicBezTo>
                  <a:cubicBezTo>
                    <a:pt x="1374077" y="2685376"/>
                    <a:pt x="1325309" y="2685567"/>
                    <a:pt x="1276636" y="2685853"/>
                  </a:cubicBezTo>
                  <a:cubicBezTo>
                    <a:pt x="1167575" y="2686615"/>
                    <a:pt x="1104710" y="2749194"/>
                    <a:pt x="1104329" y="2858350"/>
                  </a:cubicBezTo>
                  <a:cubicBezTo>
                    <a:pt x="1103852" y="2991415"/>
                    <a:pt x="1104138" y="3124384"/>
                    <a:pt x="1104329" y="3257448"/>
                  </a:cubicBezTo>
                  <a:cubicBezTo>
                    <a:pt x="1104329" y="3268687"/>
                    <a:pt x="1105376" y="3280022"/>
                    <a:pt x="1106043" y="3291928"/>
                  </a:cubicBezTo>
                  <a:cubicBezTo>
                    <a:pt x="1268063" y="3291928"/>
                    <a:pt x="1425893" y="3291928"/>
                    <a:pt x="1586865" y="3291928"/>
                  </a:cubicBezTo>
                  <a:close/>
                  <a:moveTo>
                    <a:pt x="613220" y="3291928"/>
                  </a:moveTo>
                  <a:cubicBezTo>
                    <a:pt x="613220" y="3132099"/>
                    <a:pt x="616458" y="2975413"/>
                    <a:pt x="611791" y="2819012"/>
                  </a:cubicBezTo>
                  <a:cubicBezTo>
                    <a:pt x="609600" y="2747003"/>
                    <a:pt x="539591" y="2689282"/>
                    <a:pt x="466725" y="2686710"/>
                  </a:cubicBezTo>
                  <a:cubicBezTo>
                    <a:pt x="414528" y="2684900"/>
                    <a:pt x="362045" y="2688520"/>
                    <a:pt x="309944" y="2685186"/>
                  </a:cubicBezTo>
                  <a:cubicBezTo>
                    <a:pt x="201168" y="2678328"/>
                    <a:pt x="126587" y="2756147"/>
                    <a:pt x="128397" y="2865685"/>
                  </a:cubicBezTo>
                  <a:cubicBezTo>
                    <a:pt x="130492" y="2996368"/>
                    <a:pt x="128873" y="3127051"/>
                    <a:pt x="128969" y="3257734"/>
                  </a:cubicBezTo>
                  <a:cubicBezTo>
                    <a:pt x="128969" y="3268973"/>
                    <a:pt x="129921" y="3280308"/>
                    <a:pt x="130397" y="3291833"/>
                  </a:cubicBezTo>
                  <a:cubicBezTo>
                    <a:pt x="292799" y="3291928"/>
                    <a:pt x="450628" y="3291928"/>
                    <a:pt x="613220" y="3291928"/>
                  </a:cubicBezTo>
                  <a:close/>
                  <a:moveTo>
                    <a:pt x="1527048" y="2379148"/>
                  </a:moveTo>
                  <a:cubicBezTo>
                    <a:pt x="1527524" y="2279611"/>
                    <a:pt x="1447991" y="2197887"/>
                    <a:pt x="1348264" y="2195696"/>
                  </a:cubicBezTo>
                  <a:cubicBezTo>
                    <a:pt x="1249871" y="2193505"/>
                    <a:pt x="1163288" y="2279135"/>
                    <a:pt x="1163860" y="2378291"/>
                  </a:cubicBezTo>
                  <a:cubicBezTo>
                    <a:pt x="1164431" y="2477065"/>
                    <a:pt x="1246727" y="2559075"/>
                    <a:pt x="1345597" y="2559170"/>
                  </a:cubicBezTo>
                  <a:cubicBezTo>
                    <a:pt x="1445514" y="2559361"/>
                    <a:pt x="1526572" y="2478970"/>
                    <a:pt x="1527048" y="2379148"/>
                  </a:cubicBezTo>
                  <a:close/>
                  <a:moveTo>
                    <a:pt x="191643" y="2379148"/>
                  </a:moveTo>
                  <a:cubicBezTo>
                    <a:pt x="192024" y="2479160"/>
                    <a:pt x="272796" y="2559361"/>
                    <a:pt x="372904" y="2559170"/>
                  </a:cubicBezTo>
                  <a:cubicBezTo>
                    <a:pt x="472059" y="2558980"/>
                    <a:pt x="553974" y="2477255"/>
                    <a:pt x="554450" y="2378291"/>
                  </a:cubicBezTo>
                  <a:cubicBezTo>
                    <a:pt x="554927" y="2278754"/>
                    <a:pt x="469011" y="2193696"/>
                    <a:pt x="370237" y="2195696"/>
                  </a:cubicBezTo>
                  <a:cubicBezTo>
                    <a:pt x="270415" y="2197696"/>
                    <a:pt x="191167" y="2279135"/>
                    <a:pt x="191643" y="2379148"/>
                  </a:cubicBezTo>
                  <a:close/>
                  <a:moveTo>
                    <a:pt x="1100614" y="311461"/>
                  </a:moveTo>
                  <a:cubicBezTo>
                    <a:pt x="1100614" y="211353"/>
                    <a:pt x="1020890" y="130581"/>
                    <a:pt x="920972" y="129533"/>
                  </a:cubicBezTo>
                  <a:cubicBezTo>
                    <a:pt x="822389" y="128485"/>
                    <a:pt x="740188" y="209924"/>
                    <a:pt x="739426" y="309556"/>
                  </a:cubicBezTo>
                  <a:cubicBezTo>
                    <a:pt x="738569" y="411949"/>
                    <a:pt x="818579" y="492436"/>
                    <a:pt x="920877" y="492150"/>
                  </a:cubicBezTo>
                  <a:cubicBezTo>
                    <a:pt x="1021556" y="491864"/>
                    <a:pt x="1100709" y="412330"/>
                    <a:pt x="1100614" y="3114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515B38AA-435B-261D-5B3E-0E65DC611D00}"/>
                </a:ext>
              </a:extLst>
            </p:cNvPr>
            <p:cNvSpPr/>
            <p:nvPr/>
          </p:nvSpPr>
          <p:spPr>
            <a:xfrm>
              <a:off x="4264818" y="1597818"/>
              <a:ext cx="3657600" cy="1590675"/>
            </a:xfrm>
            <a:custGeom>
              <a:avLst/>
              <a:gdLst>
                <a:gd name="connsiteX0" fmla="*/ 7144 w 3657600"/>
                <a:gd name="connsiteY0" fmla="*/ 43339 h 1590675"/>
                <a:gd name="connsiteX1" fmla="*/ 100870 w 3657600"/>
                <a:gd name="connsiteY1" fmla="*/ 7144 h 1590675"/>
                <a:gd name="connsiteX2" fmla="*/ 3566636 w 3657600"/>
                <a:gd name="connsiteY2" fmla="*/ 7811 h 1590675"/>
                <a:gd name="connsiteX3" fmla="*/ 3658457 w 3657600"/>
                <a:gd name="connsiteY3" fmla="*/ 99060 h 1590675"/>
                <a:gd name="connsiteX4" fmla="*/ 3658457 w 3657600"/>
                <a:gd name="connsiteY4" fmla="*/ 1503521 h 1590675"/>
                <a:gd name="connsiteX5" fmla="*/ 3571970 w 3657600"/>
                <a:gd name="connsiteY5" fmla="*/ 1590104 h 1590675"/>
                <a:gd name="connsiteX6" fmla="*/ 1446848 w 3657600"/>
                <a:gd name="connsiteY6" fmla="*/ 1590104 h 1590675"/>
                <a:gd name="connsiteX7" fmla="*/ 1408652 w 3657600"/>
                <a:gd name="connsiteY7" fmla="*/ 1590104 h 1590675"/>
                <a:gd name="connsiteX8" fmla="*/ 1408652 w 3657600"/>
                <a:gd name="connsiteY8" fmla="*/ 1469136 h 1590675"/>
                <a:gd name="connsiteX9" fmla="*/ 3534442 w 3657600"/>
                <a:gd name="connsiteY9" fmla="*/ 1469136 h 1590675"/>
                <a:gd name="connsiteX10" fmla="*/ 3534442 w 3657600"/>
                <a:gd name="connsiteY10" fmla="*/ 131636 h 1590675"/>
                <a:gd name="connsiteX11" fmla="*/ 130683 w 3657600"/>
                <a:gd name="connsiteY11" fmla="*/ 131636 h 1590675"/>
                <a:gd name="connsiteX12" fmla="*/ 130683 w 3657600"/>
                <a:gd name="connsiteY12" fmla="*/ 1283875 h 1590675"/>
                <a:gd name="connsiteX13" fmla="*/ 7239 w 3657600"/>
                <a:gd name="connsiteY13" fmla="*/ 1283875 h 1590675"/>
                <a:gd name="connsiteX14" fmla="*/ 7144 w 3657600"/>
                <a:gd name="connsiteY14" fmla="*/ 43339 h 1590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657600" h="1590675">
                  <a:moveTo>
                    <a:pt x="7144" y="43339"/>
                  </a:moveTo>
                  <a:cubicBezTo>
                    <a:pt x="31623" y="13716"/>
                    <a:pt x="63056" y="7144"/>
                    <a:pt x="100870" y="7144"/>
                  </a:cubicBezTo>
                  <a:cubicBezTo>
                    <a:pt x="1256062" y="8001"/>
                    <a:pt x="2411349" y="7811"/>
                    <a:pt x="3566636" y="7811"/>
                  </a:cubicBezTo>
                  <a:cubicBezTo>
                    <a:pt x="3642836" y="7811"/>
                    <a:pt x="3658362" y="23241"/>
                    <a:pt x="3658457" y="99060"/>
                  </a:cubicBezTo>
                  <a:cubicBezTo>
                    <a:pt x="3658457" y="567214"/>
                    <a:pt x="3658457" y="1035368"/>
                    <a:pt x="3658457" y="1503521"/>
                  </a:cubicBezTo>
                  <a:cubicBezTo>
                    <a:pt x="3658457" y="1571625"/>
                    <a:pt x="3640074" y="1590104"/>
                    <a:pt x="3571970" y="1590104"/>
                  </a:cubicBezTo>
                  <a:cubicBezTo>
                    <a:pt x="2863596" y="1590104"/>
                    <a:pt x="2155222" y="1590104"/>
                    <a:pt x="1446848" y="1590104"/>
                  </a:cubicBezTo>
                  <a:cubicBezTo>
                    <a:pt x="1435037" y="1590104"/>
                    <a:pt x="1423226" y="1590104"/>
                    <a:pt x="1408652" y="1590104"/>
                  </a:cubicBezTo>
                  <a:cubicBezTo>
                    <a:pt x="1408652" y="1549908"/>
                    <a:pt x="1408652" y="1511522"/>
                    <a:pt x="1408652" y="1469136"/>
                  </a:cubicBezTo>
                  <a:cubicBezTo>
                    <a:pt x="2116455" y="1469136"/>
                    <a:pt x="2824163" y="1469136"/>
                    <a:pt x="3534442" y="1469136"/>
                  </a:cubicBezTo>
                  <a:cubicBezTo>
                    <a:pt x="3534442" y="1021556"/>
                    <a:pt x="3534442" y="577882"/>
                    <a:pt x="3534442" y="131636"/>
                  </a:cubicBezTo>
                  <a:cubicBezTo>
                    <a:pt x="2401348" y="131636"/>
                    <a:pt x="1268063" y="131636"/>
                    <a:pt x="130683" y="131636"/>
                  </a:cubicBezTo>
                  <a:cubicBezTo>
                    <a:pt x="130683" y="513588"/>
                    <a:pt x="130683" y="896588"/>
                    <a:pt x="130683" y="1283875"/>
                  </a:cubicBezTo>
                  <a:cubicBezTo>
                    <a:pt x="86868" y="1283875"/>
                    <a:pt x="47054" y="1283875"/>
                    <a:pt x="7239" y="1283875"/>
                  </a:cubicBezTo>
                  <a:cubicBezTo>
                    <a:pt x="7144" y="870395"/>
                    <a:pt x="7144" y="456914"/>
                    <a:pt x="7144" y="4333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1EC4B199-2411-6E73-0522-3ED6E70D1905}"/>
                </a:ext>
              </a:extLst>
            </p:cNvPr>
            <p:cNvSpPr/>
            <p:nvPr/>
          </p:nvSpPr>
          <p:spPr>
            <a:xfrm>
              <a:off x="7184408" y="3908080"/>
              <a:ext cx="742950" cy="1352550"/>
            </a:xfrm>
            <a:custGeom>
              <a:avLst/>
              <a:gdLst>
                <a:gd name="connsiteX0" fmla="*/ 47162 w 742950"/>
                <a:gd name="connsiteY0" fmla="*/ 1347910 h 1352550"/>
                <a:gd name="connsiteX1" fmla="*/ 7157 w 742950"/>
                <a:gd name="connsiteY1" fmla="*/ 1259328 h 1352550"/>
                <a:gd name="connsiteX2" fmla="*/ 10682 w 742950"/>
                <a:gd name="connsiteY2" fmla="*/ 760408 h 1352550"/>
                <a:gd name="connsiteX3" fmla="*/ 144412 w 742950"/>
                <a:gd name="connsiteY3" fmla="*/ 538095 h 1352550"/>
                <a:gd name="connsiteX4" fmla="*/ 158224 w 742950"/>
                <a:gd name="connsiteY4" fmla="*/ 527617 h 1352550"/>
                <a:gd name="connsiteX5" fmla="*/ 77833 w 742950"/>
                <a:gd name="connsiteY5" fmla="*/ 241200 h 1352550"/>
                <a:gd name="connsiteX6" fmla="*/ 201562 w 742950"/>
                <a:gd name="connsiteY6" fmla="*/ 60130 h 1352550"/>
                <a:gd name="connsiteX7" fmla="*/ 592754 w 742950"/>
                <a:gd name="connsiteY7" fmla="*/ 99373 h 1352550"/>
                <a:gd name="connsiteX8" fmla="*/ 589611 w 742950"/>
                <a:gd name="connsiteY8" fmla="*/ 526855 h 1352550"/>
                <a:gd name="connsiteX9" fmla="*/ 611233 w 742950"/>
                <a:gd name="connsiteY9" fmla="*/ 542952 h 1352550"/>
                <a:gd name="connsiteX10" fmla="*/ 738582 w 742950"/>
                <a:gd name="connsiteY10" fmla="*/ 776601 h 1352550"/>
                <a:gd name="connsiteX11" fmla="*/ 739630 w 742950"/>
                <a:gd name="connsiteY11" fmla="*/ 1254280 h 1352550"/>
                <a:gd name="connsiteX12" fmla="*/ 703339 w 742950"/>
                <a:gd name="connsiteY12" fmla="*/ 1348005 h 1352550"/>
                <a:gd name="connsiteX13" fmla="*/ 47162 w 742950"/>
                <a:gd name="connsiteY13" fmla="*/ 1347910 h 1352550"/>
                <a:gd name="connsiteX14" fmla="*/ 614947 w 742950"/>
                <a:gd name="connsiteY14" fmla="*/ 1225514 h 1352550"/>
                <a:gd name="connsiteX15" fmla="*/ 613138 w 742950"/>
                <a:gd name="connsiteY15" fmla="*/ 760218 h 1352550"/>
                <a:gd name="connsiteX16" fmla="*/ 454166 w 742950"/>
                <a:gd name="connsiteY16" fmla="*/ 619533 h 1352550"/>
                <a:gd name="connsiteX17" fmla="*/ 304433 w 742950"/>
                <a:gd name="connsiteY17" fmla="*/ 619343 h 1352550"/>
                <a:gd name="connsiteX18" fmla="*/ 131839 w 742950"/>
                <a:gd name="connsiteY18" fmla="*/ 791746 h 1352550"/>
                <a:gd name="connsiteX19" fmla="*/ 131839 w 742950"/>
                <a:gd name="connsiteY19" fmla="*/ 1190938 h 1352550"/>
                <a:gd name="connsiteX20" fmla="*/ 133363 w 742950"/>
                <a:gd name="connsiteY20" fmla="*/ 1225419 h 1352550"/>
                <a:gd name="connsiteX21" fmla="*/ 614947 w 742950"/>
                <a:gd name="connsiteY21" fmla="*/ 1225514 h 1352550"/>
                <a:gd name="connsiteX22" fmla="*/ 554559 w 742950"/>
                <a:gd name="connsiteY22" fmla="*/ 310161 h 1352550"/>
                <a:gd name="connsiteX23" fmla="*/ 373584 w 742950"/>
                <a:gd name="connsiteY23" fmla="*/ 129186 h 1352550"/>
                <a:gd name="connsiteX24" fmla="*/ 191752 w 742950"/>
                <a:gd name="connsiteY24" fmla="*/ 310828 h 1352550"/>
                <a:gd name="connsiteX25" fmla="*/ 375870 w 742950"/>
                <a:gd name="connsiteY25" fmla="*/ 492756 h 1352550"/>
                <a:gd name="connsiteX26" fmla="*/ 554559 w 742950"/>
                <a:gd name="connsiteY26" fmla="*/ 310161 h 1352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742950" h="1352550">
                  <a:moveTo>
                    <a:pt x="47162" y="1347910"/>
                  </a:moveTo>
                  <a:cubicBezTo>
                    <a:pt x="14396" y="1327146"/>
                    <a:pt x="6776" y="1295713"/>
                    <a:pt x="7157" y="1259328"/>
                  </a:cubicBezTo>
                  <a:cubicBezTo>
                    <a:pt x="8491" y="1093021"/>
                    <a:pt x="6776" y="926619"/>
                    <a:pt x="10682" y="760408"/>
                  </a:cubicBezTo>
                  <a:cubicBezTo>
                    <a:pt x="12968" y="663253"/>
                    <a:pt x="62783" y="590006"/>
                    <a:pt x="144412" y="538095"/>
                  </a:cubicBezTo>
                  <a:cubicBezTo>
                    <a:pt x="148222" y="535713"/>
                    <a:pt x="151652" y="532665"/>
                    <a:pt x="158224" y="527617"/>
                  </a:cubicBezTo>
                  <a:cubicBezTo>
                    <a:pt x="84881" y="444559"/>
                    <a:pt x="52687" y="349881"/>
                    <a:pt x="77833" y="241200"/>
                  </a:cubicBezTo>
                  <a:cubicBezTo>
                    <a:pt x="95359" y="165477"/>
                    <a:pt x="138412" y="105755"/>
                    <a:pt x="201562" y="60130"/>
                  </a:cubicBezTo>
                  <a:cubicBezTo>
                    <a:pt x="317482" y="-23499"/>
                    <a:pt x="491408" y="-6450"/>
                    <a:pt x="592754" y="99373"/>
                  </a:cubicBezTo>
                  <a:cubicBezTo>
                    <a:pt x="694481" y="205672"/>
                    <a:pt x="717627" y="387123"/>
                    <a:pt x="589611" y="526855"/>
                  </a:cubicBezTo>
                  <a:cubicBezTo>
                    <a:pt x="596945" y="532380"/>
                    <a:pt x="603899" y="537904"/>
                    <a:pt x="611233" y="542952"/>
                  </a:cubicBezTo>
                  <a:cubicBezTo>
                    <a:pt x="693434" y="599245"/>
                    <a:pt x="737820" y="676779"/>
                    <a:pt x="738582" y="776601"/>
                  </a:cubicBezTo>
                  <a:cubicBezTo>
                    <a:pt x="739725" y="935859"/>
                    <a:pt x="737915" y="1095117"/>
                    <a:pt x="739630" y="1254280"/>
                  </a:cubicBezTo>
                  <a:cubicBezTo>
                    <a:pt x="740011" y="1292094"/>
                    <a:pt x="733058" y="1323526"/>
                    <a:pt x="703339" y="1348005"/>
                  </a:cubicBezTo>
                  <a:cubicBezTo>
                    <a:pt x="484550" y="1347910"/>
                    <a:pt x="265856" y="1347910"/>
                    <a:pt x="47162" y="1347910"/>
                  </a:cubicBezTo>
                  <a:close/>
                  <a:moveTo>
                    <a:pt x="614947" y="1225514"/>
                  </a:moveTo>
                  <a:cubicBezTo>
                    <a:pt x="614947" y="1068256"/>
                    <a:pt x="619615" y="913951"/>
                    <a:pt x="613138" y="760218"/>
                  </a:cubicBezTo>
                  <a:cubicBezTo>
                    <a:pt x="609423" y="673064"/>
                    <a:pt x="541700" y="620962"/>
                    <a:pt x="454166" y="619533"/>
                  </a:cubicBezTo>
                  <a:cubicBezTo>
                    <a:pt x="404254" y="618676"/>
                    <a:pt x="354344" y="619057"/>
                    <a:pt x="304433" y="619343"/>
                  </a:cubicBezTo>
                  <a:cubicBezTo>
                    <a:pt x="195371" y="620010"/>
                    <a:pt x="132220" y="682970"/>
                    <a:pt x="131839" y="791746"/>
                  </a:cubicBezTo>
                  <a:cubicBezTo>
                    <a:pt x="131459" y="924810"/>
                    <a:pt x="131744" y="1057874"/>
                    <a:pt x="131839" y="1190938"/>
                  </a:cubicBezTo>
                  <a:cubicBezTo>
                    <a:pt x="131839" y="1202178"/>
                    <a:pt x="132792" y="1213513"/>
                    <a:pt x="133363" y="1225419"/>
                  </a:cubicBezTo>
                  <a:cubicBezTo>
                    <a:pt x="295574" y="1225514"/>
                    <a:pt x="453499" y="1225514"/>
                    <a:pt x="614947" y="1225514"/>
                  </a:cubicBezTo>
                  <a:close/>
                  <a:moveTo>
                    <a:pt x="554559" y="310161"/>
                  </a:moveTo>
                  <a:cubicBezTo>
                    <a:pt x="554178" y="210721"/>
                    <a:pt x="472358" y="128901"/>
                    <a:pt x="373584" y="129186"/>
                  </a:cubicBezTo>
                  <a:cubicBezTo>
                    <a:pt x="275286" y="129472"/>
                    <a:pt x="192418" y="212244"/>
                    <a:pt x="191752" y="310828"/>
                  </a:cubicBezTo>
                  <a:cubicBezTo>
                    <a:pt x="191085" y="410555"/>
                    <a:pt x="275191" y="493613"/>
                    <a:pt x="375870" y="492756"/>
                  </a:cubicBezTo>
                  <a:cubicBezTo>
                    <a:pt x="475692" y="491803"/>
                    <a:pt x="554940" y="410841"/>
                    <a:pt x="554559" y="3101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E27181D2-0DD4-4665-4BE8-223F2535A472}"/>
                </a:ext>
              </a:extLst>
            </p:cNvPr>
            <p:cNvSpPr/>
            <p:nvPr/>
          </p:nvSpPr>
          <p:spPr>
            <a:xfrm>
              <a:off x="6211139" y="3906994"/>
              <a:ext cx="742950" cy="1352550"/>
            </a:xfrm>
            <a:custGeom>
              <a:avLst/>
              <a:gdLst>
                <a:gd name="connsiteX0" fmla="*/ 43357 w 742950"/>
                <a:gd name="connsiteY0" fmla="*/ 1348996 h 1352550"/>
                <a:gd name="connsiteX1" fmla="*/ 7162 w 742950"/>
                <a:gd name="connsiteY1" fmla="*/ 1251460 h 1352550"/>
                <a:gd name="connsiteX2" fmla="*/ 7447 w 742950"/>
                <a:gd name="connsiteY2" fmla="*/ 802356 h 1352550"/>
                <a:gd name="connsiteX3" fmla="*/ 148227 w 742950"/>
                <a:gd name="connsiteY3" fmla="*/ 536418 h 1352550"/>
                <a:gd name="connsiteX4" fmla="*/ 160705 w 742950"/>
                <a:gd name="connsiteY4" fmla="*/ 530608 h 1352550"/>
                <a:gd name="connsiteX5" fmla="*/ 73837 w 742950"/>
                <a:gd name="connsiteY5" fmla="*/ 259050 h 1352550"/>
                <a:gd name="connsiteX6" fmla="*/ 171087 w 742950"/>
                <a:gd name="connsiteY6" fmla="*/ 85409 h 1352550"/>
                <a:gd name="connsiteX7" fmla="*/ 582186 w 742950"/>
                <a:gd name="connsiteY7" fmla="*/ 91029 h 1352550"/>
                <a:gd name="connsiteX8" fmla="*/ 591616 w 742950"/>
                <a:gd name="connsiteY8" fmla="*/ 527369 h 1352550"/>
                <a:gd name="connsiteX9" fmla="*/ 597045 w 742950"/>
                <a:gd name="connsiteY9" fmla="*/ 535466 h 1352550"/>
                <a:gd name="connsiteX10" fmla="*/ 740015 w 742950"/>
                <a:gd name="connsiteY10" fmla="*/ 800737 h 1352550"/>
                <a:gd name="connsiteX11" fmla="*/ 740301 w 742950"/>
                <a:gd name="connsiteY11" fmla="*/ 1260509 h 1352550"/>
                <a:gd name="connsiteX12" fmla="*/ 699534 w 742950"/>
                <a:gd name="connsiteY12" fmla="*/ 1348806 h 1352550"/>
                <a:gd name="connsiteX13" fmla="*/ 43357 w 742950"/>
                <a:gd name="connsiteY13" fmla="*/ 1348996 h 1352550"/>
                <a:gd name="connsiteX14" fmla="*/ 129653 w 742950"/>
                <a:gd name="connsiteY14" fmla="*/ 1225457 h 1352550"/>
                <a:gd name="connsiteX15" fmla="*/ 611809 w 742950"/>
                <a:gd name="connsiteY15" fmla="*/ 1225457 h 1352550"/>
                <a:gd name="connsiteX16" fmla="*/ 614761 w 742950"/>
                <a:gd name="connsiteY16" fmla="*/ 1213550 h 1352550"/>
                <a:gd name="connsiteX17" fmla="*/ 613714 w 742950"/>
                <a:gd name="connsiteY17" fmla="*/ 764542 h 1352550"/>
                <a:gd name="connsiteX18" fmla="*/ 467791 w 742950"/>
                <a:gd name="connsiteY18" fmla="*/ 621381 h 1352550"/>
                <a:gd name="connsiteX19" fmla="*/ 311009 w 742950"/>
                <a:gd name="connsiteY19" fmla="*/ 619857 h 1352550"/>
                <a:gd name="connsiteX20" fmla="*/ 129177 w 742950"/>
                <a:gd name="connsiteY20" fmla="*/ 803594 h 1352550"/>
                <a:gd name="connsiteX21" fmla="*/ 129653 w 742950"/>
                <a:gd name="connsiteY21" fmla="*/ 1070866 h 1352550"/>
                <a:gd name="connsiteX22" fmla="*/ 129653 w 742950"/>
                <a:gd name="connsiteY22" fmla="*/ 1225457 h 1352550"/>
                <a:gd name="connsiteX23" fmla="*/ 192423 w 742950"/>
                <a:gd name="connsiteY23" fmla="*/ 313343 h 1352550"/>
                <a:gd name="connsiteX24" fmla="*/ 373398 w 742950"/>
                <a:gd name="connsiteY24" fmla="*/ 493841 h 1352550"/>
                <a:gd name="connsiteX25" fmla="*/ 555516 w 742950"/>
                <a:gd name="connsiteY25" fmla="*/ 313343 h 1352550"/>
                <a:gd name="connsiteX26" fmla="*/ 371588 w 742950"/>
                <a:gd name="connsiteY26" fmla="*/ 130272 h 1352550"/>
                <a:gd name="connsiteX27" fmla="*/ 192423 w 742950"/>
                <a:gd name="connsiteY27" fmla="*/ 313343 h 1352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742950" h="1352550">
                  <a:moveTo>
                    <a:pt x="43357" y="1348996"/>
                  </a:moveTo>
                  <a:cubicBezTo>
                    <a:pt x="12305" y="1323469"/>
                    <a:pt x="6781" y="1290132"/>
                    <a:pt x="7162" y="1251460"/>
                  </a:cubicBezTo>
                  <a:cubicBezTo>
                    <a:pt x="8876" y="1101727"/>
                    <a:pt x="9257" y="951994"/>
                    <a:pt x="7447" y="802356"/>
                  </a:cubicBezTo>
                  <a:cubicBezTo>
                    <a:pt x="6019" y="687104"/>
                    <a:pt x="49357" y="597569"/>
                    <a:pt x="148227" y="536418"/>
                  </a:cubicBezTo>
                  <a:cubicBezTo>
                    <a:pt x="151275" y="534513"/>
                    <a:pt x="154704" y="533370"/>
                    <a:pt x="160705" y="530608"/>
                  </a:cubicBezTo>
                  <a:cubicBezTo>
                    <a:pt x="86314" y="451074"/>
                    <a:pt x="57454" y="360873"/>
                    <a:pt x="73837" y="259050"/>
                  </a:cubicBezTo>
                  <a:cubicBezTo>
                    <a:pt x="84886" y="190375"/>
                    <a:pt x="117842" y="131225"/>
                    <a:pt x="171087" y="85409"/>
                  </a:cubicBezTo>
                  <a:cubicBezTo>
                    <a:pt x="295007" y="-21175"/>
                    <a:pt x="458075" y="-18508"/>
                    <a:pt x="582186" y="91029"/>
                  </a:cubicBezTo>
                  <a:cubicBezTo>
                    <a:pt x="702868" y="197519"/>
                    <a:pt x="706392" y="355443"/>
                    <a:pt x="591616" y="527369"/>
                  </a:cubicBezTo>
                  <a:cubicBezTo>
                    <a:pt x="593235" y="529941"/>
                    <a:pt x="594473" y="533942"/>
                    <a:pt x="597045" y="535466"/>
                  </a:cubicBezTo>
                  <a:cubicBezTo>
                    <a:pt x="697248" y="595664"/>
                    <a:pt x="740110" y="686627"/>
                    <a:pt x="740015" y="800737"/>
                  </a:cubicBezTo>
                  <a:cubicBezTo>
                    <a:pt x="739920" y="953994"/>
                    <a:pt x="739539" y="1107251"/>
                    <a:pt x="740301" y="1260509"/>
                  </a:cubicBezTo>
                  <a:cubicBezTo>
                    <a:pt x="740491" y="1297180"/>
                    <a:pt x="732110" y="1328136"/>
                    <a:pt x="699534" y="1348806"/>
                  </a:cubicBezTo>
                  <a:cubicBezTo>
                    <a:pt x="480840" y="1348996"/>
                    <a:pt x="262051" y="1348996"/>
                    <a:pt x="43357" y="1348996"/>
                  </a:cubicBezTo>
                  <a:close/>
                  <a:moveTo>
                    <a:pt x="129653" y="1225457"/>
                  </a:moveTo>
                  <a:cubicBezTo>
                    <a:pt x="294340" y="1225457"/>
                    <a:pt x="453122" y="1225457"/>
                    <a:pt x="611809" y="1225457"/>
                  </a:cubicBezTo>
                  <a:cubicBezTo>
                    <a:pt x="613142" y="1220218"/>
                    <a:pt x="614761" y="1216884"/>
                    <a:pt x="614761" y="1213550"/>
                  </a:cubicBezTo>
                  <a:cubicBezTo>
                    <a:pt x="614761" y="1063913"/>
                    <a:pt x="616095" y="914180"/>
                    <a:pt x="613714" y="764542"/>
                  </a:cubicBezTo>
                  <a:cubicBezTo>
                    <a:pt x="612476" y="687961"/>
                    <a:pt x="545134" y="624239"/>
                    <a:pt x="467791" y="621381"/>
                  </a:cubicBezTo>
                  <a:cubicBezTo>
                    <a:pt x="415594" y="619476"/>
                    <a:pt x="363111" y="623286"/>
                    <a:pt x="311009" y="619857"/>
                  </a:cubicBezTo>
                  <a:cubicBezTo>
                    <a:pt x="205663" y="612999"/>
                    <a:pt x="126129" y="686342"/>
                    <a:pt x="129177" y="803594"/>
                  </a:cubicBezTo>
                  <a:cubicBezTo>
                    <a:pt x="131463" y="892653"/>
                    <a:pt x="129653" y="981712"/>
                    <a:pt x="129653" y="1070866"/>
                  </a:cubicBezTo>
                  <a:cubicBezTo>
                    <a:pt x="129653" y="1121634"/>
                    <a:pt x="129653" y="1172402"/>
                    <a:pt x="129653" y="1225457"/>
                  </a:cubicBezTo>
                  <a:close/>
                  <a:moveTo>
                    <a:pt x="192423" y="313343"/>
                  </a:moveTo>
                  <a:cubicBezTo>
                    <a:pt x="192709" y="413260"/>
                    <a:pt x="273481" y="493746"/>
                    <a:pt x="373398" y="493841"/>
                  </a:cubicBezTo>
                  <a:cubicBezTo>
                    <a:pt x="472363" y="493937"/>
                    <a:pt x="554468" y="412498"/>
                    <a:pt x="555516" y="313343"/>
                  </a:cubicBezTo>
                  <a:cubicBezTo>
                    <a:pt x="556564" y="214473"/>
                    <a:pt x="470172" y="128462"/>
                    <a:pt x="371588" y="130272"/>
                  </a:cubicBezTo>
                  <a:cubicBezTo>
                    <a:pt x="272147" y="132177"/>
                    <a:pt x="192042" y="213902"/>
                    <a:pt x="192423" y="31334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4FA09F41-6B3B-90EA-2311-A2F434E6F074}"/>
                </a:ext>
              </a:extLst>
            </p:cNvPr>
            <p:cNvSpPr/>
            <p:nvPr/>
          </p:nvSpPr>
          <p:spPr>
            <a:xfrm>
              <a:off x="6455663" y="2270760"/>
              <a:ext cx="1228725" cy="123825"/>
            </a:xfrm>
            <a:custGeom>
              <a:avLst/>
              <a:gdLst>
                <a:gd name="connsiteX0" fmla="*/ 7144 w 1228725"/>
                <a:gd name="connsiteY0" fmla="*/ 123158 h 123825"/>
                <a:gd name="connsiteX1" fmla="*/ 7144 w 1228725"/>
                <a:gd name="connsiteY1" fmla="*/ 7144 h 123825"/>
                <a:gd name="connsiteX2" fmla="*/ 1222915 w 1228725"/>
                <a:gd name="connsiteY2" fmla="*/ 7144 h 123825"/>
                <a:gd name="connsiteX3" fmla="*/ 1222915 w 1228725"/>
                <a:gd name="connsiteY3" fmla="*/ 123158 h 123825"/>
                <a:gd name="connsiteX4" fmla="*/ 7144 w 1228725"/>
                <a:gd name="connsiteY4" fmla="*/ 123158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725" h="123825">
                  <a:moveTo>
                    <a:pt x="7144" y="123158"/>
                  </a:moveTo>
                  <a:cubicBezTo>
                    <a:pt x="7144" y="83439"/>
                    <a:pt x="7144" y="46768"/>
                    <a:pt x="7144" y="7144"/>
                  </a:cubicBezTo>
                  <a:cubicBezTo>
                    <a:pt x="412337" y="7144"/>
                    <a:pt x="816674" y="7144"/>
                    <a:pt x="1222915" y="7144"/>
                  </a:cubicBezTo>
                  <a:cubicBezTo>
                    <a:pt x="1222915" y="45148"/>
                    <a:pt x="1222915" y="82772"/>
                    <a:pt x="1222915" y="123158"/>
                  </a:cubicBezTo>
                  <a:cubicBezTo>
                    <a:pt x="818864" y="123158"/>
                    <a:pt x="414528" y="123158"/>
                    <a:pt x="7144" y="12315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63D13B11-F6F4-72ED-C3E5-B8A3EC560D41}"/>
                </a:ext>
              </a:extLst>
            </p:cNvPr>
            <p:cNvSpPr/>
            <p:nvPr/>
          </p:nvSpPr>
          <p:spPr>
            <a:xfrm>
              <a:off x="6213729" y="2635091"/>
              <a:ext cx="1228725" cy="123825"/>
            </a:xfrm>
            <a:custGeom>
              <a:avLst/>
              <a:gdLst>
                <a:gd name="connsiteX0" fmla="*/ 1222724 w 1228725"/>
                <a:gd name="connsiteY0" fmla="*/ 7144 h 123825"/>
                <a:gd name="connsiteX1" fmla="*/ 1222724 w 1228725"/>
                <a:gd name="connsiteY1" fmla="*/ 123349 h 123825"/>
                <a:gd name="connsiteX2" fmla="*/ 7144 w 1228725"/>
                <a:gd name="connsiteY2" fmla="*/ 123349 h 123825"/>
                <a:gd name="connsiteX3" fmla="*/ 7144 w 1228725"/>
                <a:gd name="connsiteY3" fmla="*/ 7144 h 123825"/>
                <a:gd name="connsiteX4" fmla="*/ 1222724 w 1228725"/>
                <a:gd name="connsiteY4" fmla="*/ 7144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725" h="123825">
                  <a:moveTo>
                    <a:pt x="1222724" y="7144"/>
                  </a:moveTo>
                  <a:cubicBezTo>
                    <a:pt x="1222724" y="47244"/>
                    <a:pt x="1222724" y="83915"/>
                    <a:pt x="1222724" y="123349"/>
                  </a:cubicBezTo>
                  <a:cubicBezTo>
                    <a:pt x="817435" y="123349"/>
                    <a:pt x="413195" y="123349"/>
                    <a:pt x="7144" y="123349"/>
                  </a:cubicBezTo>
                  <a:cubicBezTo>
                    <a:pt x="7144" y="84963"/>
                    <a:pt x="7144" y="47434"/>
                    <a:pt x="7144" y="7144"/>
                  </a:cubicBezTo>
                  <a:cubicBezTo>
                    <a:pt x="411385" y="7144"/>
                    <a:pt x="815626" y="7144"/>
                    <a:pt x="1222724" y="714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86DE380A-5682-4F2B-7531-5822913EC545}"/>
                </a:ext>
              </a:extLst>
            </p:cNvPr>
            <p:cNvSpPr/>
            <p:nvPr/>
          </p:nvSpPr>
          <p:spPr>
            <a:xfrm>
              <a:off x="6275165" y="1905190"/>
              <a:ext cx="1219200" cy="123825"/>
            </a:xfrm>
            <a:custGeom>
              <a:avLst/>
              <a:gdLst>
                <a:gd name="connsiteX0" fmla="*/ 1220534 w 1219200"/>
                <a:gd name="connsiteY0" fmla="*/ 7144 h 123825"/>
                <a:gd name="connsiteX1" fmla="*/ 1220534 w 1219200"/>
                <a:gd name="connsiteY1" fmla="*/ 124301 h 123825"/>
                <a:gd name="connsiteX2" fmla="*/ 7144 w 1219200"/>
                <a:gd name="connsiteY2" fmla="*/ 124301 h 123825"/>
                <a:gd name="connsiteX3" fmla="*/ 7144 w 1219200"/>
                <a:gd name="connsiteY3" fmla="*/ 7144 h 123825"/>
                <a:gd name="connsiteX4" fmla="*/ 1220534 w 1219200"/>
                <a:gd name="connsiteY4" fmla="*/ 7144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19200" h="123825">
                  <a:moveTo>
                    <a:pt x="1220534" y="7144"/>
                  </a:moveTo>
                  <a:cubicBezTo>
                    <a:pt x="1220534" y="46196"/>
                    <a:pt x="1220534" y="83725"/>
                    <a:pt x="1220534" y="124301"/>
                  </a:cubicBezTo>
                  <a:cubicBezTo>
                    <a:pt x="816864" y="124301"/>
                    <a:pt x="413671" y="124301"/>
                    <a:pt x="7144" y="124301"/>
                  </a:cubicBezTo>
                  <a:cubicBezTo>
                    <a:pt x="7144" y="87154"/>
                    <a:pt x="7144" y="48863"/>
                    <a:pt x="7144" y="7144"/>
                  </a:cubicBezTo>
                  <a:cubicBezTo>
                    <a:pt x="409956" y="7144"/>
                    <a:pt x="813054" y="7144"/>
                    <a:pt x="1220534" y="714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620614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728</TotalTime>
  <Words>2</Words>
  <Application>Microsoft Office PowerPoint</Application>
  <PresentationFormat>Widescreen</PresentationFormat>
  <Paragraphs>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Icons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867</cp:revision>
  <dcterms:created xsi:type="dcterms:W3CDTF">2021-03-31T02:49:57Z</dcterms:created>
  <dcterms:modified xsi:type="dcterms:W3CDTF">2025-10-15T03:55:12Z</dcterms:modified>
  <cp:category/>
</cp:coreProperties>
</file>